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696" r:id="rId2"/>
    <p:sldMasterId id="2147483708" r:id="rId3"/>
  </p:sldMasterIdLst>
  <p:notesMasterIdLst>
    <p:notesMasterId r:id="rId12"/>
  </p:notesMasterIdLst>
  <p:handoutMasterIdLst>
    <p:handoutMasterId r:id="rId13"/>
  </p:handoutMasterIdLst>
  <p:sldIdLst>
    <p:sldId id="284" r:id="rId4"/>
    <p:sldId id="290" r:id="rId5"/>
    <p:sldId id="291" r:id="rId6"/>
    <p:sldId id="293" r:id="rId7"/>
    <p:sldId id="301" r:id="rId8"/>
    <p:sldId id="300" r:id="rId9"/>
    <p:sldId id="302" r:id="rId10"/>
    <p:sldId id="286" r:id="rId11"/>
  </p:sldIdLst>
  <p:sldSz cx="9144000" cy="5143500" type="screen16x9"/>
  <p:notesSz cx="6797675" cy="9926638"/>
  <p:custDataLst>
    <p:tags r:id="rId14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73D4"/>
    <a:srgbClr val="306BCF"/>
    <a:srgbClr val="DE422F"/>
    <a:srgbClr val="AB1F22"/>
    <a:srgbClr val="76777B"/>
    <a:srgbClr val="C8191B"/>
    <a:srgbClr val="01466D"/>
    <a:srgbClr val="DBB131"/>
    <a:srgbClr val="1E497D"/>
    <a:srgbClr val="203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68" autoAdjust="0"/>
    <p:restoredTop sz="94604" autoAdjust="0"/>
  </p:normalViewPr>
  <p:slideViewPr>
    <p:cSldViewPr snapToGrid="0">
      <p:cViewPr varScale="1">
        <p:scale>
          <a:sx n="164" d="100"/>
          <a:sy n="164" d="100"/>
        </p:scale>
        <p:origin x="354" y="138"/>
      </p:cViewPr>
      <p:guideLst>
        <p:guide orient="horz" pos="1620"/>
        <p:guide pos="29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652" y="96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1.xlsb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2.xlsb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8518518518518517E-2"/>
          <c:y val="1.8518518518518517E-2"/>
          <c:w val="0.96296296296296291"/>
          <c:h val="0.9629629629629629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06B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605-4515-96FC-17622515473F}"/>
              </c:ext>
            </c:extLst>
          </c:dPt>
          <c:dPt>
            <c:idx val="1"/>
            <c:bubble3D val="0"/>
            <c:spPr>
              <a:noFill/>
              <a:ln w="6350">
                <a:solidFill>
                  <a:srgbClr val="306BCF"/>
                </a:solidFill>
                <a:prstDash val="dash"/>
              </a:ln>
            </c:spPr>
            <c:extLst>
              <c:ext xmlns:c16="http://schemas.microsoft.com/office/drawing/2014/chart" uri="{C3380CC4-5D6E-409C-BE32-E72D297353CC}">
                <c16:uniqueId val="{00000003-6605-4515-96FC-17622515473F}"/>
              </c:ext>
            </c:extLst>
          </c:dPt>
          <c:dPt>
            <c:idx val="2"/>
            <c:bubble3D val="0"/>
            <c:spPr>
              <a:solidFill>
                <a:srgbClr val="FFFF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605-4515-96FC-17622515473F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56.999999999999993</c:v>
                </c:pt>
                <c:pt idx="1">
                  <c:v>22</c:v>
                </c:pt>
                <c:pt idx="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605-4515-96FC-1762251547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0023094688221709E-2"/>
          <c:y val="3.0023094688221709E-2"/>
          <c:w val="0.93995381062355654"/>
          <c:h val="0.9399538106235565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1D4-4460-B5DC-AEB7085FC7B9}"/>
              </c:ext>
            </c:extLst>
          </c:dPt>
          <c:dPt>
            <c:idx val="1"/>
            <c:bubble3D val="0"/>
            <c:spPr>
              <a:solidFill>
                <a:srgbClr val="FFFF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1D4-4460-B5DC-AEB7085FC7B9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3</c:v>
                </c:pt>
                <c:pt idx="1">
                  <c:v>57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D4-4460-B5DC-AEB7085FC7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0760869565217392E-2"/>
          <c:y val="1.8518518518518517E-2"/>
          <c:w val="0.91847826086956519"/>
          <c:h val="0.9629629629629629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306B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6D2-4164-B205-1BA486B62D98}"/>
              </c:ext>
            </c:extLst>
          </c:dPt>
          <c:dPt>
            <c:idx val="1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6D2-4164-B205-1BA486B62D98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6D2-4164-B205-1BA486B62D98}"/>
              </c:ext>
            </c:extLst>
          </c:dPt>
          <c:dLbls>
            <c:dLbl>
              <c:idx val="0"/>
              <c:layout>
                <c:manualLayout>
                  <c:x val="1.4892191831118009E-2"/>
                  <c:y val="-5.20203185036765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1600" b="1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2593633850093719"/>
                      <c:h val="0.239717821694959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6D2-4164-B205-1BA486B62D98}"/>
                </c:ext>
              </c:extLst>
            </c:dLbl>
            <c:dLbl>
              <c:idx val="1"/>
              <c:layout>
                <c:manualLayout>
                  <c:x val="-2.1739130434782608E-2"/>
                  <c:y val="-8.190883190883190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1400"/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6D2-4164-B205-1BA486B62D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0</c:v>
                </c:pt>
                <c:pt idx="1">
                  <c:v>37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6D2-4164-B205-1BA486B62D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txPr>
    <a:bodyPr/>
    <a:lstStyle/>
    <a:p>
      <a:pPr>
        <a:defRPr>
          <a:latin typeface="Century Gothic" panose="020B0502020202020204" pitchFamily="34" charset="0"/>
        </a:defRPr>
      </a:pPr>
      <a:endParaRPr lang="it-IT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52520E-CDC4-4DB4-898F-6290E944203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2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5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17656D-4716-4906-9F8F-2C0C0381804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0773952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B565AA-05AA-4863-8E5F-19D57179A86C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C8160B-47AE-4510-AEBD-80266B9C19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3818895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C8160B-47AE-4510-AEBD-80266B9C19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27600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43000" y="2701927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74089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37475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43676" y="274640"/>
            <a:ext cx="1971675" cy="4357687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28652" y="274640"/>
            <a:ext cx="5762625" cy="4357687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4857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43000" y="2701927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59511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90393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89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3889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440656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1" cy="32623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1" y="1370013"/>
            <a:ext cx="3867151" cy="32623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37480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274640"/>
            <a:ext cx="7886700" cy="99377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30240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30240" y="1879600"/>
            <a:ext cx="3868737" cy="276225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29151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29151" y="1879600"/>
            <a:ext cx="3887788" cy="276225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4428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613562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99535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87789" y="741365"/>
            <a:ext cx="4629151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30239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1624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31236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3887789" y="741365"/>
            <a:ext cx="4629151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30239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706772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88468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43676" y="274640"/>
            <a:ext cx="1971675" cy="4357687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28652" y="274640"/>
            <a:ext cx="5762625" cy="4357687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3FFFF-DF34-4B45-BA45-09714A905E64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437DAB-526F-4DB3-B7B1-148147C41D7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9247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43000" y="2701927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3811310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79206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89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3889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703142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1" cy="3262312"/>
          </a:xfrm>
        </p:spPr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1" y="1370013"/>
            <a:ext cx="3867151" cy="32623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24034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274640"/>
            <a:ext cx="7886700" cy="99377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30240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30240" y="1879600"/>
            <a:ext cx="3868737" cy="276225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29151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29151" y="1879600"/>
            <a:ext cx="3887788" cy="276225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92980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66701" y="71440"/>
            <a:ext cx="6610894" cy="993775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TITOLO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8F09B262-EBDA-93F3-5E33-6E00F9E350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01049" y="148636"/>
            <a:ext cx="1640477" cy="661261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it-IT" dirty="0"/>
              <a:t>logo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EEEC14AA-3AF6-D0A0-E2A8-824F4BD7C79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66701" y="1206989"/>
            <a:ext cx="4629151" cy="293928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B59FA842-5D11-B68B-6823-B817DFBA2D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31995"/>
            <a:ext cx="9144000" cy="611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5747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72076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89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3889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474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87789" y="829491"/>
            <a:ext cx="4629151" cy="35662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30239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30751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3887789" y="741365"/>
            <a:ext cx="4629151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30239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00501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56328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43676" y="274640"/>
            <a:ext cx="1971675" cy="4357687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28652" y="274640"/>
            <a:ext cx="5762625" cy="4357687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6320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1" cy="3262312"/>
          </a:xfrm>
        </p:spPr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1" y="1370013"/>
            <a:ext cx="3867151" cy="3262312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40265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274640"/>
            <a:ext cx="7886700" cy="99377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30240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30240" y="1879600"/>
            <a:ext cx="3868737" cy="276225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29151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29151" y="1879600"/>
            <a:ext cx="3887788" cy="276225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86982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66701" y="71440"/>
            <a:ext cx="6610894" cy="993775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TITOLO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8F09B262-EBDA-93F3-5E33-6E00F9E350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01049" y="148636"/>
            <a:ext cx="1640477" cy="661261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it-IT" dirty="0"/>
              <a:t>logo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EEEC14AA-3AF6-D0A0-E2A8-824F4BD7C79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66701" y="1206989"/>
            <a:ext cx="4629151" cy="293928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B59FA842-5D11-B68B-6823-B817DFBA2D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31995"/>
            <a:ext cx="9144000" cy="611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487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75302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87789" y="829491"/>
            <a:ext cx="4629151" cy="35662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30239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824334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0239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3887789" y="741365"/>
            <a:ext cx="4629151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30239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DDEEE9A0-E50F-4D13-8958-98D009C8C4EF}" type="datetimeFigureOut">
              <a:rPr lang="it-IT" smtClean="0"/>
              <a:t>03/12/202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/>
          <a:lstStyle/>
          <a:p>
            <a:fld id="{195C1DC7-AFD0-4AF8-BBF3-3200E972FF5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216160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70259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416" imgH="416" progId="TCLayout.ActiveDocument.1">
                  <p:embed/>
                </p:oleObj>
              </mc:Choice>
              <mc:Fallback>
                <p:oleObj name="Diapositiva think-cell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3200" b="0" i="0" baseline="0" dirty="0">
              <a:latin typeface="Century Gothic" panose="020B0502020202020204" pitchFamily="34" charset="0"/>
              <a:ea typeface="+mj-ea"/>
              <a:cs typeface="Helvetica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266700" y="71440"/>
            <a:ext cx="8623299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266700" y="1370013"/>
            <a:ext cx="8623300" cy="2897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924486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Century Gothic" panose="020B0502020202020204" pitchFamily="34" charset="0"/>
          <a:ea typeface="+mj-ea"/>
          <a:cs typeface="Helvetica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Helvetica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1816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416" imgH="416" progId="TCLayout.ActiveDocument.1">
                  <p:embed/>
                </p:oleObj>
              </mc:Choice>
              <mc:Fallback>
                <p:oleObj name="Diapositiva think-cell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28651" y="274640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8651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28651" y="4767265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3FFFF-DF34-4B45-BA45-09714A905E64}" type="datetimeFigureOut">
              <a:rPr lang="it-IT" smtClean="0"/>
              <a:t>03/12/202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028951" y="4767265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457951" y="4767265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55437DAB-526F-4DB3-B7B1-148147C41D7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8702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416" imgH="416" progId="TCLayout.ActiveDocument.1">
                  <p:embed/>
                </p:oleObj>
              </mc:Choice>
              <mc:Fallback>
                <p:oleObj name="Diapositiva think-cell" r:id="rId15" imgW="416" imgH="416" progId="TCLayout.ActiveDocument.1">
                  <p:embed/>
                  <p:pic>
                    <p:nvPicPr>
                      <p:cNvPr id="5" name="Oggetto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3200" b="0" i="0" baseline="0" dirty="0">
              <a:latin typeface="Century Gothic" panose="020B0502020202020204" pitchFamily="34" charset="0"/>
              <a:ea typeface="+mj-ea"/>
              <a:cs typeface="Helvetica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266700" y="71440"/>
            <a:ext cx="8623299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266700" y="1370013"/>
            <a:ext cx="8623300" cy="2897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632949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Century Gothic" panose="020B0502020202020204" pitchFamily="34" charset="0"/>
          <a:ea typeface="+mj-ea"/>
          <a:cs typeface="Helvetica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Helvetica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chart" Target="../charts/char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/>
          <p:cNvSpPr txBox="1"/>
          <p:nvPr/>
        </p:nvSpPr>
        <p:spPr>
          <a:xfrm>
            <a:off x="-60388" y="2907819"/>
            <a:ext cx="3991844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it-IT" sz="1400" b="1" dirty="0">
                <a:solidFill>
                  <a:srgbClr val="76777B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 </a:t>
            </a:r>
            <a:r>
              <a:rPr lang="it-IT" sz="14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VERSO UNA NUOVA MOBILITA' SOSTENIBILE 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34928" y="2624329"/>
            <a:ext cx="1212659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 dirty="0">
                <a:solidFill>
                  <a:srgbClr val="DE422F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Seminario:</a:t>
            </a:r>
          </a:p>
        </p:txBody>
      </p:sp>
      <p:sp>
        <p:nvSpPr>
          <p:cNvPr id="15" name="CasellaDiTesto 14"/>
          <p:cNvSpPr txBox="1"/>
          <p:nvPr/>
        </p:nvSpPr>
        <p:spPr>
          <a:xfrm>
            <a:off x="21263" y="3176545"/>
            <a:ext cx="4387170" cy="569387"/>
          </a:xfrm>
          <a:prstGeom prst="rect">
            <a:avLst/>
          </a:prstGeom>
          <a:gradFill>
            <a:gsLst>
              <a:gs pos="51000">
                <a:srgbClr val="FBFDFE">
                  <a:lumMod val="84000"/>
                  <a:lumOff val="16000"/>
                  <a:alpha val="4000"/>
                </a:srgbClr>
              </a:gs>
              <a:gs pos="4000">
                <a:schemeClr val="bg1"/>
              </a:gs>
            </a:gsLst>
            <a:lin ang="16200000" scaled="1"/>
          </a:gra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it-IT"/>
            </a:defPPr>
            <a:lvl1pPr algn="r">
              <a:spcAft>
                <a:spcPts val="600"/>
              </a:spcAft>
              <a:defRPr sz="1200">
                <a:solidFill>
                  <a:srgbClr val="1E497D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Helvetica" panose="020B0604020202020204" pitchFamily="34" charset="0"/>
              </a:defRPr>
            </a:lvl1pPr>
          </a:lstStyle>
          <a:p>
            <a:pPr algn="l"/>
            <a:r>
              <a:rPr lang="it-IT" sz="1400" b="1" dirty="0">
                <a:solidFill>
                  <a:srgbClr val="DE422F"/>
                </a:solidFill>
              </a:rPr>
              <a:t>Intervento</a:t>
            </a:r>
            <a:r>
              <a:rPr lang="en-GB" sz="1400" b="1" dirty="0">
                <a:solidFill>
                  <a:srgbClr val="DE422F"/>
                </a:solidFill>
              </a:rPr>
              <a:t> di: </a:t>
            </a:r>
            <a:r>
              <a:rPr lang="it-IT" b="1" spc="-70" dirty="0">
                <a:solidFill>
                  <a:srgbClr val="76777B"/>
                </a:solidFill>
              </a:rPr>
              <a:t>Massimiliano Abriola</a:t>
            </a:r>
          </a:p>
          <a:p>
            <a:pPr algn="l"/>
            <a:r>
              <a:rPr lang="it-IT" b="1" spc="-70" dirty="0">
                <a:solidFill>
                  <a:srgbClr val="76777B"/>
                </a:solidFill>
              </a:rPr>
              <a:t>Head of Consulting &amp; Arval Mobility Observatory</a:t>
            </a:r>
            <a:endParaRPr lang="it-IT" b="1" spc="-70" dirty="0">
              <a:solidFill>
                <a:srgbClr val="DE422F"/>
              </a:solidFill>
            </a:endParaRPr>
          </a:p>
        </p:txBody>
      </p:sp>
      <p:pic>
        <p:nvPicPr>
          <p:cNvPr id="7" name="Immagine 6" descr="Immagine che contiene testo, Carattere, Elementi grafici, grafica&#10;&#10;Descrizione generata automaticamente">
            <a:extLst>
              <a:ext uri="{FF2B5EF4-FFF2-40B4-BE49-F238E27FC236}">
                <a16:creationId xmlns:a16="http://schemas.microsoft.com/office/drawing/2014/main" id="{F7D090A5-CDCA-811B-3258-E936FF392F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36" y="4145645"/>
            <a:ext cx="1515669" cy="735763"/>
          </a:xfrm>
          <a:prstGeom prst="rect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A5BA7946-CA7D-8997-EE95-711C8307ABBC}"/>
              </a:ext>
            </a:extLst>
          </p:cNvPr>
          <p:cNvSpPr txBox="1"/>
          <p:nvPr/>
        </p:nvSpPr>
        <p:spPr>
          <a:xfrm>
            <a:off x="7368206" y="1426730"/>
            <a:ext cx="1217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Un evento: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F4D2C4FB-C81D-85D1-D802-AFAA216C5738}"/>
              </a:ext>
            </a:extLst>
          </p:cNvPr>
          <p:cNvSpPr txBox="1"/>
          <p:nvPr/>
        </p:nvSpPr>
        <p:spPr>
          <a:xfrm>
            <a:off x="6023248" y="2635228"/>
            <a:ext cx="13924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dirty="0"/>
              <a:t>Con il Patrocinio di:</a:t>
            </a:r>
          </a:p>
        </p:txBody>
      </p:sp>
      <p:pic>
        <p:nvPicPr>
          <p:cNvPr id="27" name="Immagine 26">
            <a:extLst>
              <a:ext uri="{FF2B5EF4-FFF2-40B4-BE49-F238E27FC236}">
                <a16:creationId xmlns:a16="http://schemas.microsoft.com/office/drawing/2014/main" id="{CCCE0C2B-0D1D-4359-F668-007883C4D1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5145" y="3207484"/>
            <a:ext cx="1049168" cy="582198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DEE43868-69C4-6583-6705-410C6A9A8F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2714" y="3343340"/>
            <a:ext cx="1116748" cy="310486"/>
          </a:xfrm>
          <a:prstGeom prst="rect">
            <a:avLst/>
          </a:prstGeom>
        </p:spPr>
      </p:pic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5B2773F-9A7A-ED99-A38D-6036A1573760}"/>
              </a:ext>
            </a:extLst>
          </p:cNvPr>
          <p:cNvSpPr txBox="1"/>
          <p:nvPr/>
        </p:nvSpPr>
        <p:spPr>
          <a:xfrm>
            <a:off x="62204" y="3913843"/>
            <a:ext cx="1223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/>
              <a:t>Partner Platinum:</a:t>
            </a:r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FCA73CB4-CC6F-442C-7B5A-8897D6425992}"/>
              </a:ext>
            </a:extLst>
          </p:cNvPr>
          <p:cNvCxnSpPr>
            <a:cxnSpLocks/>
          </p:cNvCxnSpPr>
          <p:nvPr/>
        </p:nvCxnSpPr>
        <p:spPr>
          <a:xfrm>
            <a:off x="76825" y="3890759"/>
            <a:ext cx="9000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7D37E29C-108F-CA7C-DB8F-821EA3B78DC8}"/>
              </a:ext>
            </a:extLst>
          </p:cNvPr>
          <p:cNvSpPr txBox="1"/>
          <p:nvPr/>
        </p:nvSpPr>
        <p:spPr>
          <a:xfrm>
            <a:off x="4222714" y="3913843"/>
            <a:ext cx="663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/>
              <a:t>Partner:</a:t>
            </a:r>
          </a:p>
        </p:txBody>
      </p:sp>
      <p:cxnSp>
        <p:nvCxnSpPr>
          <p:cNvPr id="45" name="Connettore diritto 44">
            <a:extLst>
              <a:ext uri="{FF2B5EF4-FFF2-40B4-BE49-F238E27FC236}">
                <a16:creationId xmlns:a16="http://schemas.microsoft.com/office/drawing/2014/main" id="{65F52535-F575-23C0-F1B2-D6E440806834}"/>
              </a:ext>
            </a:extLst>
          </p:cNvPr>
          <p:cNvCxnSpPr>
            <a:cxnSpLocks/>
          </p:cNvCxnSpPr>
          <p:nvPr/>
        </p:nvCxnSpPr>
        <p:spPr>
          <a:xfrm flipV="1">
            <a:off x="4134904" y="2757046"/>
            <a:ext cx="0" cy="107624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B46D188C-EF9C-0EE5-22B1-51DED4AD138A}"/>
              </a:ext>
            </a:extLst>
          </p:cNvPr>
          <p:cNvCxnSpPr>
            <a:cxnSpLocks/>
          </p:cNvCxnSpPr>
          <p:nvPr/>
        </p:nvCxnSpPr>
        <p:spPr>
          <a:xfrm flipV="1">
            <a:off x="4134904" y="3948225"/>
            <a:ext cx="0" cy="113413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magine 1">
            <a:extLst>
              <a:ext uri="{FF2B5EF4-FFF2-40B4-BE49-F238E27FC236}">
                <a16:creationId xmlns:a16="http://schemas.microsoft.com/office/drawing/2014/main" id="{244C61EB-8900-7BCB-9F3D-07EB034BD6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1658" y="4268368"/>
            <a:ext cx="1719443" cy="589380"/>
          </a:xfrm>
          <a:prstGeom prst="rect">
            <a:avLst/>
          </a:prstGeom>
        </p:spPr>
      </p:pic>
      <p:pic>
        <p:nvPicPr>
          <p:cNvPr id="11" name="Immagine 10" descr="Immagine che contiene testo, logo, grafica, Elementi grafici">
            <a:extLst>
              <a:ext uri="{FF2B5EF4-FFF2-40B4-BE49-F238E27FC236}">
                <a16:creationId xmlns:a16="http://schemas.microsoft.com/office/drawing/2014/main" id="{E9810232-F434-2D6D-B7AF-48D752FAB5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-98028"/>
            <a:ext cx="9144000" cy="3006090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562795A1-54DB-514D-9B1E-FAB1C684BBC7}"/>
              </a:ext>
            </a:extLst>
          </p:cNvPr>
          <p:cNvSpPr txBox="1"/>
          <p:nvPr/>
        </p:nvSpPr>
        <p:spPr>
          <a:xfrm>
            <a:off x="7655" y="2493036"/>
            <a:ext cx="22071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  <a:latin typeface="Avenir Roman" panose="02000503020000020003" pitchFamily="2" charset="0"/>
              </a:rPr>
              <a:t>4 DICEMBRE 2024</a:t>
            </a:r>
          </a:p>
        </p:txBody>
      </p:sp>
      <p:pic>
        <p:nvPicPr>
          <p:cNvPr id="22" name="Immagine 21" descr="Immagine che contiene Carattere, Elementi grafici, grafica, logo">
            <a:extLst>
              <a:ext uri="{FF2B5EF4-FFF2-40B4-BE49-F238E27FC236}">
                <a16:creationId xmlns:a16="http://schemas.microsoft.com/office/drawing/2014/main" id="{666E4287-CF56-302E-89B3-60852FE0BB7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684" y="3315590"/>
            <a:ext cx="1333655" cy="365986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B6075053-CC0E-92C8-316A-913F865C75DB}"/>
              </a:ext>
            </a:extLst>
          </p:cNvPr>
          <p:cNvSpPr txBox="1"/>
          <p:nvPr/>
        </p:nvSpPr>
        <p:spPr>
          <a:xfrm>
            <a:off x="4222714" y="2938219"/>
            <a:ext cx="1570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/>
              <a:t>Con il Patrocinio di: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6D3A4BC5-38A2-6DB0-1F39-416D33DF2FD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04426" y="3327880"/>
            <a:ext cx="883997" cy="341406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3BD6D13A-0ADF-FF47-1973-A6442400EEC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22714" y="4088801"/>
            <a:ext cx="4724809" cy="105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240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5E84346F-0879-CFBA-7782-6B9129A5E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1" y="71441"/>
            <a:ext cx="6610894" cy="627060"/>
          </a:xfrm>
        </p:spPr>
        <p:txBody>
          <a:bodyPr/>
          <a:lstStyle/>
          <a:p>
            <a:r>
              <a:rPr lang="it-IT" dirty="0"/>
              <a:t> </a:t>
            </a: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3484BE77-42A3-AD7E-B19B-C383BD6FF587}"/>
              </a:ext>
            </a:extLst>
          </p:cNvPr>
          <p:cNvSpPr txBox="1">
            <a:spLocks/>
          </p:cNvSpPr>
          <p:nvPr/>
        </p:nvSpPr>
        <p:spPr>
          <a:xfrm>
            <a:off x="266700" y="71441"/>
            <a:ext cx="8070849" cy="506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Helvetica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>
                <a:solidFill>
                  <a:prstClr val="black"/>
                </a:solidFill>
              </a:rPr>
              <a:t>MOTORE DEL CAMBIAMENTO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Helvetica" panose="020B0604020202020204" pitchFamily="34" charset="0"/>
            </a:endParaRPr>
          </a:p>
        </p:txBody>
      </p:sp>
      <p:sp>
        <p:nvSpPr>
          <p:cNvPr id="2" name="Segnaposto contenuto 1"/>
          <p:cNvSpPr>
            <a:spLocks noGrp="1"/>
          </p:cNvSpPr>
          <p:nvPr>
            <p:ph idx="10"/>
          </p:nvPr>
        </p:nvSpPr>
        <p:spPr>
          <a:xfrm>
            <a:off x="3445145" y="698501"/>
            <a:ext cx="5616000" cy="3682999"/>
          </a:xfrm>
        </p:spPr>
        <p:txBody>
          <a:bodyPr wrap="square" lIns="0" tIns="0" rIns="0" bIns="0">
            <a:noAutofit/>
          </a:bodyPr>
          <a:lstStyle/>
          <a:p>
            <a:pPr>
              <a:lnSpc>
                <a:spcPct val="100000"/>
              </a:lnSpc>
              <a:spcBef>
                <a:spcPts val="1800"/>
              </a:spcBef>
              <a:buClr>
                <a:srgbClr val="3473D4"/>
              </a:buClr>
              <a:buSzPct val="90000"/>
              <a:buFont typeface="Wingdings 2" panose="05020102010507070707" pitchFamily="18" charset="2"/>
              <a:buChar char="¢"/>
            </a:pPr>
            <a:r>
              <a:rPr lang="it-IT" sz="1350" dirty="0"/>
              <a:t>L’introduzione della </a:t>
            </a:r>
            <a:r>
              <a:rPr lang="it-IT" sz="1350" b="1" dirty="0"/>
              <a:t>Corporate </a:t>
            </a:r>
            <a:r>
              <a:rPr lang="it-IT" sz="1350" b="1" dirty="0" err="1"/>
              <a:t>Sustainability</a:t>
            </a:r>
            <a:r>
              <a:rPr lang="it-IT" sz="1350" b="1" dirty="0"/>
              <a:t> Reporting Directive</a:t>
            </a:r>
            <a:r>
              <a:rPr lang="it-IT" sz="1350" dirty="0"/>
              <a:t> (CSRD) disegna un sistema economico-finanziario diffusamente </a:t>
            </a:r>
            <a:r>
              <a:rPr lang="it-IT" sz="1350" b="1" dirty="0"/>
              <a:t>caratterizzato</a:t>
            </a:r>
            <a:r>
              <a:rPr lang="it-IT" sz="1350" dirty="0"/>
              <a:t> da </a:t>
            </a:r>
            <a:r>
              <a:rPr lang="it-IT" sz="1350" b="1" dirty="0"/>
              <a:t>requisiti</a:t>
            </a:r>
            <a:r>
              <a:rPr lang="it-IT" sz="1350" dirty="0"/>
              <a:t> di </a:t>
            </a:r>
            <a:r>
              <a:rPr lang="it-IT" sz="1350" b="1" dirty="0"/>
              <a:t>trasparenza</a:t>
            </a:r>
            <a:r>
              <a:rPr lang="it-IT" sz="1350" dirty="0"/>
              <a:t> e </a:t>
            </a:r>
            <a:r>
              <a:rPr lang="it-IT" sz="1350" b="1" dirty="0"/>
              <a:t>responsabilità</a:t>
            </a:r>
            <a:r>
              <a:rPr lang="it-IT" sz="1350" dirty="0"/>
              <a:t> delle imprese sui </a:t>
            </a:r>
            <a:r>
              <a:rPr lang="it-IT" sz="1350" b="1" dirty="0"/>
              <a:t>temi</a:t>
            </a:r>
            <a:r>
              <a:rPr lang="it-IT" sz="1350" dirty="0"/>
              <a:t> </a:t>
            </a:r>
            <a:r>
              <a:rPr lang="it-IT" sz="1350" b="1" dirty="0"/>
              <a:t>ambientali</a:t>
            </a:r>
            <a:r>
              <a:rPr lang="it-IT" sz="1350" dirty="0"/>
              <a:t>, </a:t>
            </a:r>
            <a:r>
              <a:rPr lang="it-IT" sz="1350" b="1" dirty="0"/>
              <a:t>sociali</a:t>
            </a:r>
            <a:r>
              <a:rPr lang="it-IT" sz="1350" dirty="0"/>
              <a:t> e di </a:t>
            </a:r>
            <a:r>
              <a:rPr lang="it-IT" sz="1350" b="1" dirty="0"/>
              <a:t>governance</a:t>
            </a:r>
            <a:r>
              <a:rPr lang="it-IT" sz="1350" dirty="0"/>
              <a:t> (ESG).</a:t>
            </a:r>
          </a:p>
          <a:p>
            <a:pPr>
              <a:lnSpc>
                <a:spcPct val="100000"/>
              </a:lnSpc>
              <a:spcBef>
                <a:spcPts val="1800"/>
              </a:spcBef>
              <a:buClr>
                <a:srgbClr val="3473D4"/>
              </a:buClr>
              <a:buSzPct val="90000"/>
              <a:buFont typeface="Wingdings 2" panose="05020102010507070707" pitchFamily="18" charset="2"/>
              <a:buChar char="¢"/>
            </a:pPr>
            <a:r>
              <a:rPr lang="it-IT" sz="1350" dirty="0"/>
              <a:t>La CSRD </a:t>
            </a:r>
            <a:r>
              <a:rPr lang="it-IT" sz="1350" b="1" dirty="0"/>
              <a:t>impone</a:t>
            </a:r>
            <a:r>
              <a:rPr lang="it-IT" sz="1350" dirty="0"/>
              <a:t> alle aziende di </a:t>
            </a:r>
            <a:r>
              <a:rPr lang="it-IT" sz="1350" b="1" dirty="0"/>
              <a:t>adottare</a:t>
            </a:r>
            <a:r>
              <a:rPr lang="it-IT" sz="1350" dirty="0"/>
              <a:t> </a:t>
            </a:r>
            <a:r>
              <a:rPr lang="it-IT" sz="1350" b="1" dirty="0"/>
              <a:t>strategie</a:t>
            </a:r>
            <a:r>
              <a:rPr lang="it-IT" sz="1350" dirty="0"/>
              <a:t> di </a:t>
            </a:r>
            <a:r>
              <a:rPr lang="it-IT" sz="1350" b="1" dirty="0"/>
              <a:t>mobilità</a:t>
            </a:r>
            <a:r>
              <a:rPr lang="it-IT" sz="1350" dirty="0"/>
              <a:t> </a:t>
            </a:r>
            <a:r>
              <a:rPr lang="it-IT" sz="1350" b="1" dirty="0"/>
              <a:t>sostenibile</a:t>
            </a:r>
            <a:r>
              <a:rPr lang="it-IT" sz="1350" dirty="0"/>
              <a:t> e di </a:t>
            </a:r>
            <a:r>
              <a:rPr lang="it-IT" sz="1350" b="1" dirty="0"/>
              <a:t>monitorare</a:t>
            </a:r>
            <a:r>
              <a:rPr lang="it-IT" sz="1350" dirty="0"/>
              <a:t> il </a:t>
            </a:r>
            <a:r>
              <a:rPr lang="it-IT" sz="1350" b="1" dirty="0"/>
              <a:t>loro</a:t>
            </a:r>
            <a:r>
              <a:rPr lang="it-IT" sz="1350" dirty="0"/>
              <a:t> </a:t>
            </a:r>
            <a:r>
              <a:rPr lang="it-IT" sz="1350" b="1" dirty="0"/>
              <a:t>impatto</a:t>
            </a:r>
            <a:r>
              <a:rPr lang="it-IT" sz="1350" dirty="0"/>
              <a:t> </a:t>
            </a:r>
            <a:r>
              <a:rPr lang="it-IT" sz="1350" b="1" dirty="0"/>
              <a:t>ambientale</a:t>
            </a:r>
            <a:r>
              <a:rPr lang="it-IT" sz="1350" dirty="0"/>
              <a:t> in modo più rigoroso. </a:t>
            </a:r>
          </a:p>
          <a:p>
            <a:pPr>
              <a:lnSpc>
                <a:spcPct val="100000"/>
              </a:lnSpc>
              <a:spcBef>
                <a:spcPts val="1800"/>
              </a:spcBef>
              <a:buClr>
                <a:srgbClr val="3473D4"/>
              </a:buClr>
              <a:buSzPct val="90000"/>
              <a:buFont typeface="Wingdings 2" panose="05020102010507070707" pitchFamily="18" charset="2"/>
              <a:buChar char="¢"/>
            </a:pPr>
            <a:r>
              <a:rPr lang="it-IT" sz="1350" dirty="0"/>
              <a:t>Questo crea </a:t>
            </a:r>
            <a:r>
              <a:rPr lang="it-IT" sz="1350" b="1" dirty="0"/>
              <a:t>sfide legate </a:t>
            </a:r>
            <a:r>
              <a:rPr lang="it-IT" sz="1350" dirty="0"/>
              <a:t>alla </a:t>
            </a:r>
            <a:r>
              <a:rPr lang="it-IT" sz="1350" b="1" dirty="0"/>
              <a:t>conformità</a:t>
            </a:r>
            <a:r>
              <a:rPr lang="it-IT" sz="1350" dirty="0"/>
              <a:t> e alla </a:t>
            </a:r>
            <a:r>
              <a:rPr lang="it-IT" sz="1350" b="1" dirty="0"/>
              <a:t>governance</a:t>
            </a:r>
            <a:r>
              <a:rPr lang="it-IT" sz="1350" dirty="0"/>
              <a:t>, ma anche </a:t>
            </a:r>
            <a:r>
              <a:rPr lang="it-IT" sz="1350" b="1" dirty="0"/>
              <a:t>opportunità</a:t>
            </a:r>
            <a:r>
              <a:rPr lang="it-IT" sz="1350" dirty="0"/>
              <a:t> di </a:t>
            </a:r>
            <a:r>
              <a:rPr lang="it-IT" sz="1350" b="1" dirty="0"/>
              <a:t>innovazione</a:t>
            </a:r>
            <a:r>
              <a:rPr lang="it-IT" sz="1350" dirty="0"/>
              <a:t> e </a:t>
            </a:r>
            <a:r>
              <a:rPr lang="it-IT" sz="1350" b="1" dirty="0"/>
              <a:t>crescita</a:t>
            </a:r>
            <a:r>
              <a:rPr lang="it-IT" sz="1350" dirty="0"/>
              <a:t> nel </a:t>
            </a:r>
            <a:r>
              <a:rPr lang="it-IT" sz="1350" b="1" dirty="0"/>
              <a:t>lungo</a:t>
            </a:r>
            <a:r>
              <a:rPr lang="it-IT" sz="1350" dirty="0"/>
              <a:t> </a:t>
            </a:r>
            <a:r>
              <a:rPr lang="it-IT" sz="1350" b="1" dirty="0"/>
              <a:t>termine</a:t>
            </a:r>
            <a:r>
              <a:rPr lang="it-IT" sz="1350" dirty="0"/>
              <a:t>.</a:t>
            </a:r>
          </a:p>
          <a:p>
            <a:pPr>
              <a:lnSpc>
                <a:spcPct val="100000"/>
              </a:lnSpc>
            </a:pPr>
            <a:endParaRPr lang="it-IT" sz="1400" dirty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98501"/>
            <a:ext cx="3387036" cy="3828925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5020733" y="3359150"/>
            <a:ext cx="4123267" cy="1168276"/>
          </a:xfrm>
          <a:prstGeom prst="rect">
            <a:avLst/>
          </a:prstGeom>
          <a:gradFill flip="none" rotWithShape="1">
            <a:gsLst>
              <a:gs pos="26000">
                <a:srgbClr val="3473D4"/>
              </a:gs>
              <a:gs pos="0">
                <a:schemeClr val="bg1"/>
              </a:gs>
              <a:gs pos="100000">
                <a:srgbClr val="3473D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19138" indent="-92075" algn="just">
              <a:spcBef>
                <a:spcPts val="300"/>
              </a:spcBef>
            </a:pP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I NUOVI REQUISITI DELLA MOBILITÀ</a:t>
            </a:r>
          </a:p>
          <a:p>
            <a:pPr marL="719138" indent="-92075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Monitoraggio</a:t>
            </a:r>
            <a:r>
              <a:rPr lang="it-IT" sz="1100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 delle </a:t>
            </a: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emissioni</a:t>
            </a:r>
          </a:p>
          <a:p>
            <a:pPr marL="719138" indent="-92075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Adozione</a:t>
            </a:r>
            <a:r>
              <a:rPr lang="it-IT" sz="1100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 delle soluzioni di </a:t>
            </a: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mobilità</a:t>
            </a:r>
            <a:r>
              <a:rPr lang="it-IT" sz="1100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 </a:t>
            </a: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sostenibile</a:t>
            </a:r>
          </a:p>
          <a:p>
            <a:pPr marL="719138" indent="-92075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Rendicontazione</a:t>
            </a:r>
            <a:r>
              <a:rPr lang="it-IT" sz="1100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 trasparente</a:t>
            </a:r>
          </a:p>
          <a:p>
            <a:pPr marL="719138" indent="-92075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Coinvolgimento</a:t>
            </a:r>
            <a:r>
              <a:rPr lang="it-IT" sz="1100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 della </a:t>
            </a: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catena</a:t>
            </a:r>
            <a:r>
              <a:rPr lang="it-IT" sz="1100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 di </a:t>
            </a:r>
            <a:r>
              <a:rPr lang="it-IT" sz="1100" b="1" dirty="0">
                <a:solidFill>
                  <a:schemeClr val="bg1"/>
                </a:solidFill>
                <a:latin typeface="Century Gothic" panose="020B0502020202020204" pitchFamily="34" charset="0"/>
                <a:cs typeface="BNPP Sans Condensed"/>
              </a:rPr>
              <a:t>valore</a:t>
            </a:r>
          </a:p>
        </p:txBody>
      </p:sp>
    </p:spTree>
    <p:extLst>
      <p:ext uri="{BB962C8B-B14F-4D97-AF65-F5344CB8AC3E}">
        <p14:creationId xmlns:p14="http://schemas.microsoft.com/office/powerpoint/2010/main" val="2840579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5E84346F-0879-CFBA-7782-6B9129A5E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1" y="71441"/>
            <a:ext cx="6610894" cy="627060"/>
          </a:xfrm>
        </p:spPr>
        <p:txBody>
          <a:bodyPr/>
          <a:lstStyle/>
          <a:p>
            <a:r>
              <a:rPr lang="it-IT" dirty="0"/>
              <a:t> </a:t>
            </a: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3484BE77-42A3-AD7E-B19B-C383BD6FF587}"/>
              </a:ext>
            </a:extLst>
          </p:cNvPr>
          <p:cNvSpPr txBox="1">
            <a:spLocks/>
          </p:cNvSpPr>
          <p:nvPr/>
        </p:nvSpPr>
        <p:spPr>
          <a:xfrm>
            <a:off x="266700" y="71441"/>
            <a:ext cx="8070849" cy="506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Helvetica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>
                <a:solidFill>
                  <a:prstClr val="black"/>
                </a:solidFill>
              </a:rPr>
              <a:t>IL RUOLO STRATEGICO DELLA MOBILITA’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Helvetica" panose="020B0604020202020204" pitchFamily="34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98501"/>
            <a:ext cx="3387036" cy="3828925"/>
          </a:xfrm>
          <a:prstGeom prst="rect">
            <a:avLst/>
          </a:prstGeom>
        </p:spPr>
      </p:pic>
      <p:sp>
        <p:nvSpPr>
          <p:cNvPr id="20" name="object 16"/>
          <p:cNvSpPr txBox="1"/>
          <p:nvPr/>
        </p:nvSpPr>
        <p:spPr>
          <a:xfrm>
            <a:off x="2045360" y="1643870"/>
            <a:ext cx="143481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BNPPSansCondensed-ExtraBold"/>
              </a:rPr>
              <a:t> 60%</a:t>
            </a:r>
            <a:endParaRPr kumimoji="0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BNPPSansCondensed-ExtraBold"/>
            </a:endParaRPr>
          </a:p>
        </p:txBody>
      </p:sp>
      <p:sp>
        <p:nvSpPr>
          <p:cNvPr id="21" name="object 23"/>
          <p:cNvSpPr/>
          <p:nvPr/>
        </p:nvSpPr>
        <p:spPr>
          <a:xfrm>
            <a:off x="1870146" y="2091357"/>
            <a:ext cx="220345" cy="220345"/>
          </a:xfrm>
          <a:custGeom>
            <a:avLst/>
            <a:gdLst/>
            <a:ahLst/>
            <a:cxnLst/>
            <a:rect l="l" t="t" r="r" b="b"/>
            <a:pathLst>
              <a:path w="220344" h="220345">
                <a:moveTo>
                  <a:pt x="219887" y="0"/>
                </a:moveTo>
                <a:lnTo>
                  <a:pt x="0" y="0"/>
                </a:lnTo>
                <a:lnTo>
                  <a:pt x="0" y="219887"/>
                </a:lnTo>
                <a:lnTo>
                  <a:pt x="219887" y="219887"/>
                </a:lnTo>
                <a:lnTo>
                  <a:pt x="219887" y="0"/>
                </a:lnTo>
                <a:close/>
              </a:path>
            </a:pathLst>
          </a:custGeom>
          <a:solidFill>
            <a:srgbClr val="3473D4"/>
          </a:solidFill>
          <a:ln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2" name="object 24"/>
          <p:cNvSpPr/>
          <p:nvPr/>
        </p:nvSpPr>
        <p:spPr>
          <a:xfrm>
            <a:off x="1870146" y="2311702"/>
            <a:ext cx="5400000" cy="0"/>
          </a:xfrm>
          <a:custGeom>
            <a:avLst/>
            <a:gdLst/>
            <a:ahLst/>
            <a:cxnLst/>
            <a:rect l="l" t="t" r="r" b="b"/>
            <a:pathLst>
              <a:path w="8486140">
                <a:moveTo>
                  <a:pt x="0" y="0"/>
                </a:moveTo>
                <a:lnTo>
                  <a:pt x="8485569" y="0"/>
                </a:lnTo>
              </a:path>
            </a:pathLst>
          </a:custGeom>
          <a:ln w="10469"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3387036" y="1295400"/>
            <a:ext cx="5135991" cy="101585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it-IT" sz="1600" dirty="0">
                <a:latin typeface="Century Gothic" panose="020B0502020202020204" pitchFamily="34" charset="0"/>
                <a:cs typeface="Arial" panose="020B0604020202020204" pitchFamily="34" charset="0"/>
              </a:rPr>
              <a:t>Le aziende che </a:t>
            </a:r>
            <a:r>
              <a:rPr lang="it-IT" sz="1600" spc="-20" dirty="0">
                <a:latin typeface="Century Gothic" panose="020B0502020202020204" pitchFamily="34" charset="0"/>
                <a:cs typeface="Arial" panose="020B0604020202020204" pitchFamily="34" charset="0"/>
              </a:rPr>
              <a:t>hanno o stanno lavorando a </a:t>
            </a:r>
            <a:r>
              <a:rPr lang="it-IT" sz="1600" b="1" spc="-20" dirty="0">
                <a:latin typeface="Century Gothic" panose="020B0502020202020204" pitchFamily="34" charset="0"/>
                <a:cs typeface="Arial" panose="020B0604020202020204" pitchFamily="34" charset="0"/>
              </a:rPr>
              <a:t>strategie e target specifici </a:t>
            </a:r>
            <a:r>
              <a:rPr lang="it-IT" sz="1600" spc="-20" dirty="0">
                <a:latin typeface="Century Gothic" panose="020B0502020202020204" pitchFamily="34" charset="0"/>
                <a:cs typeface="Arial" panose="020B0604020202020204" pitchFamily="34" charset="0"/>
              </a:rPr>
              <a:t>per la </a:t>
            </a:r>
            <a:r>
              <a:rPr lang="it-IT" sz="1600" b="1" spc="-20" dirty="0">
                <a:latin typeface="Century Gothic" panose="020B0502020202020204" pitchFamily="34" charset="0"/>
                <a:cs typeface="Arial" panose="020B0604020202020204" pitchFamily="34" charset="0"/>
              </a:rPr>
              <a:t>riduzione</a:t>
            </a:r>
            <a:r>
              <a:rPr lang="it-IT" sz="1600" spc="-2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600" b="1" spc="-20" dirty="0">
                <a:latin typeface="Century Gothic" panose="020B0502020202020204" pitchFamily="34" charset="0"/>
                <a:cs typeface="Arial" panose="020B0604020202020204" pitchFamily="34" charset="0"/>
              </a:rPr>
              <a:t>dell’impatto</a:t>
            </a:r>
            <a:r>
              <a:rPr lang="it-IT" sz="1600" spc="-20" dirty="0">
                <a:latin typeface="Century Gothic" panose="020B0502020202020204" pitchFamily="34" charset="0"/>
                <a:cs typeface="Arial" panose="020B0604020202020204" pitchFamily="34" charset="0"/>
              </a:rPr>
              <a:t> ambientale derivante dalla </a:t>
            </a:r>
            <a:r>
              <a:rPr lang="it-IT" sz="1600" b="1" spc="-20" dirty="0">
                <a:latin typeface="Century Gothic" panose="020B0502020202020204" pitchFamily="34" charset="0"/>
                <a:cs typeface="Arial" panose="020B0604020202020204" pitchFamily="34" charset="0"/>
              </a:rPr>
              <a:t>mobilità</a:t>
            </a:r>
          </a:p>
        </p:txBody>
      </p:sp>
      <p:sp>
        <p:nvSpPr>
          <p:cNvPr id="29" name="object 16"/>
          <p:cNvSpPr txBox="1"/>
          <p:nvPr/>
        </p:nvSpPr>
        <p:spPr>
          <a:xfrm>
            <a:off x="2045360" y="3106892"/>
            <a:ext cx="143481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BNPPSansCondensed-ExtraBold"/>
              </a:rPr>
              <a:t> 82%</a:t>
            </a:r>
            <a:endParaRPr kumimoji="0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BNPPSansCondensed-ExtraBold"/>
            </a:endParaRPr>
          </a:p>
        </p:txBody>
      </p:sp>
      <p:sp>
        <p:nvSpPr>
          <p:cNvPr id="30" name="object 23"/>
          <p:cNvSpPr/>
          <p:nvPr/>
        </p:nvSpPr>
        <p:spPr>
          <a:xfrm>
            <a:off x="1870146" y="3554379"/>
            <a:ext cx="220345" cy="220345"/>
          </a:xfrm>
          <a:custGeom>
            <a:avLst/>
            <a:gdLst/>
            <a:ahLst/>
            <a:cxnLst/>
            <a:rect l="l" t="t" r="r" b="b"/>
            <a:pathLst>
              <a:path w="220344" h="220345">
                <a:moveTo>
                  <a:pt x="219887" y="0"/>
                </a:moveTo>
                <a:lnTo>
                  <a:pt x="0" y="0"/>
                </a:lnTo>
                <a:lnTo>
                  <a:pt x="0" y="219887"/>
                </a:lnTo>
                <a:lnTo>
                  <a:pt x="219887" y="219887"/>
                </a:lnTo>
                <a:lnTo>
                  <a:pt x="219887" y="0"/>
                </a:lnTo>
                <a:close/>
              </a:path>
            </a:pathLst>
          </a:custGeom>
          <a:solidFill>
            <a:srgbClr val="3473D4"/>
          </a:solidFill>
          <a:ln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1" name="object 24"/>
          <p:cNvSpPr/>
          <p:nvPr/>
        </p:nvSpPr>
        <p:spPr>
          <a:xfrm>
            <a:off x="1870146" y="3774724"/>
            <a:ext cx="5400000" cy="0"/>
          </a:xfrm>
          <a:custGeom>
            <a:avLst/>
            <a:gdLst/>
            <a:ahLst/>
            <a:cxnLst/>
            <a:rect l="l" t="t" r="r" b="b"/>
            <a:pathLst>
              <a:path w="8486140">
                <a:moveTo>
                  <a:pt x="0" y="0"/>
                </a:moveTo>
                <a:lnTo>
                  <a:pt x="8485569" y="0"/>
                </a:lnTo>
              </a:path>
            </a:pathLst>
          </a:custGeom>
          <a:ln w="10469"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" name="CasellaDiTesto 31"/>
          <p:cNvSpPr txBox="1"/>
          <p:nvPr/>
        </p:nvSpPr>
        <p:spPr>
          <a:xfrm>
            <a:off x="3387036" y="2758422"/>
            <a:ext cx="5245173" cy="101585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it-IT" sz="1600" dirty="0">
                <a:latin typeface="Century Gothic" panose="020B0502020202020204" pitchFamily="34" charset="0"/>
                <a:cs typeface="Arial" panose="020B0604020202020204" pitchFamily="34" charset="0"/>
              </a:rPr>
              <a:t>La quota di aziende per cui la </a:t>
            </a:r>
            <a:r>
              <a:rPr lang="it-IT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mobilità</a:t>
            </a:r>
            <a:r>
              <a:rPr lang="it-IT" sz="1600" dirty="0">
                <a:latin typeface="Century Gothic" panose="020B0502020202020204" pitchFamily="34" charset="0"/>
                <a:cs typeface="Arial" panose="020B0604020202020204" pitchFamily="34" charset="0"/>
              </a:rPr>
              <a:t> dei </a:t>
            </a:r>
            <a:r>
              <a:rPr lang="it-IT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dipendenti</a:t>
            </a:r>
            <a:r>
              <a:rPr lang="it-IT" sz="1600" dirty="0">
                <a:latin typeface="Century Gothic" panose="020B0502020202020204" pitchFamily="34" charset="0"/>
                <a:cs typeface="Arial" panose="020B0604020202020204" pitchFamily="34" charset="0"/>
              </a:rPr>
              <a:t> (flotta, viaggi, commuting) </a:t>
            </a:r>
            <a:r>
              <a:rPr lang="it-IT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sarà</a:t>
            </a:r>
            <a:r>
              <a:rPr lang="it-IT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rilevante</a:t>
            </a:r>
            <a:r>
              <a:rPr lang="it-IT" sz="1600" dirty="0">
                <a:latin typeface="Century Gothic" panose="020B0502020202020204" pitchFamily="34" charset="0"/>
                <a:cs typeface="Arial" panose="020B0604020202020204" pitchFamily="34" charset="0"/>
              </a:rPr>
              <a:t> nell’approccio alla </a:t>
            </a:r>
            <a:r>
              <a:rPr lang="it-IT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rendicontazione</a:t>
            </a:r>
            <a:r>
              <a:rPr lang="it-IT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ESG</a:t>
            </a:r>
          </a:p>
        </p:txBody>
      </p:sp>
    </p:spTree>
    <p:extLst>
      <p:ext uri="{BB962C8B-B14F-4D97-AF65-F5344CB8AC3E}">
        <p14:creationId xmlns:p14="http://schemas.microsoft.com/office/powerpoint/2010/main" val="4281300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5E84346F-0879-CFBA-7782-6B9129A5E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1" y="71441"/>
            <a:ext cx="6610894" cy="627060"/>
          </a:xfrm>
        </p:spPr>
        <p:txBody>
          <a:bodyPr/>
          <a:lstStyle/>
          <a:p>
            <a:r>
              <a:rPr lang="it-IT" dirty="0"/>
              <a:t> </a:t>
            </a: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3484BE77-42A3-AD7E-B19B-C383BD6FF587}"/>
              </a:ext>
            </a:extLst>
          </p:cNvPr>
          <p:cNvSpPr txBox="1">
            <a:spLocks/>
          </p:cNvSpPr>
          <p:nvPr/>
        </p:nvSpPr>
        <p:spPr>
          <a:xfrm>
            <a:off x="-12842" y="43054"/>
            <a:ext cx="9150017" cy="506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Helvetica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it-IT" sz="2000" spc="-80" dirty="0">
                <a:solidFill>
                  <a:prstClr val="black"/>
                </a:solidFill>
              </a:rPr>
              <a:t>LA CONNETTIVITÀ COME ABILITATORE DELLA TRASFORMAZIONE DELLA MOBILITÀ</a:t>
            </a:r>
          </a:p>
        </p:txBody>
      </p:sp>
      <p:sp>
        <p:nvSpPr>
          <p:cNvPr id="45" name="object 2"/>
          <p:cNvSpPr/>
          <p:nvPr/>
        </p:nvSpPr>
        <p:spPr>
          <a:xfrm>
            <a:off x="266700" y="742950"/>
            <a:ext cx="3780000" cy="1044575"/>
          </a:xfrm>
          <a:custGeom>
            <a:avLst/>
            <a:gdLst/>
            <a:ahLst/>
            <a:cxnLst/>
            <a:rect l="l" t="t" r="r" b="b"/>
            <a:pathLst>
              <a:path w="16989425" h="2558415">
                <a:moveTo>
                  <a:pt x="16989080" y="0"/>
                </a:moveTo>
                <a:lnTo>
                  <a:pt x="0" y="0"/>
                </a:lnTo>
                <a:lnTo>
                  <a:pt x="0" y="2558254"/>
                </a:lnTo>
                <a:lnTo>
                  <a:pt x="16989080" y="2558254"/>
                </a:lnTo>
                <a:lnTo>
                  <a:pt x="16989080" y="0"/>
                </a:lnTo>
                <a:close/>
              </a:path>
            </a:pathLst>
          </a:custGeom>
          <a:solidFill>
            <a:srgbClr val="306BCF"/>
          </a:solidFill>
        </p:spPr>
        <p:txBody>
          <a:bodyPr wrap="square" lIns="108000" tIns="36000" rIns="36000" bIns="0" rtlCol="0"/>
          <a:lstStyle/>
          <a:p>
            <a:pPr marR="0" lvl="0" indent="2667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Il </a:t>
            </a:r>
            <a:r>
              <a:rPr kumimoji="0" lang="it-IT" sz="24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57%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delle aziende </a:t>
            </a:r>
            <a:r>
              <a:rPr kumimoji="0" lang="it-IT" sz="12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sta già utilizzando o pensa di utilizzare i dati</a:t>
            </a:r>
            <a:r>
              <a:rPr kumimoji="0" lang="it-IT" sz="1200" b="1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2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provenienti dal veicolo grazie alla</a:t>
            </a:r>
            <a:r>
              <a:rPr kumimoji="0" lang="it-IT" sz="1200" b="0" i="0" u="none" strike="noStrike" kern="0" cap="none" spc="-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connettività </a:t>
            </a:r>
            <a:r>
              <a:rPr kumimoji="0" lang="it-IT" sz="12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nei prossimi 3 anni.</a:t>
            </a:r>
          </a:p>
        </p:txBody>
      </p:sp>
      <p:sp>
        <p:nvSpPr>
          <p:cNvPr id="46" name="Rettangolo 45"/>
          <p:cNvSpPr/>
          <p:nvPr/>
        </p:nvSpPr>
        <p:spPr>
          <a:xfrm>
            <a:off x="397052" y="953439"/>
            <a:ext cx="144000" cy="144000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aphicFrame>
        <p:nvGraphicFramePr>
          <p:cNvPr id="47" name="Chart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6033285"/>
              </p:ext>
            </p:extLst>
          </p:nvPr>
        </p:nvGraphicFramePr>
        <p:xfrm>
          <a:off x="1893888" y="1948153"/>
          <a:ext cx="2178050" cy="2400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8" name="Chart 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827696"/>
              </p:ext>
            </p:extLst>
          </p:nvPr>
        </p:nvGraphicFramePr>
        <p:xfrm>
          <a:off x="2311193" y="2408039"/>
          <a:ext cx="1343441" cy="1480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1" name="Rettangolo 50"/>
          <p:cNvSpPr/>
          <p:nvPr/>
        </p:nvSpPr>
        <p:spPr>
          <a:xfrm>
            <a:off x="280115" y="2316281"/>
            <a:ext cx="216000" cy="215900"/>
          </a:xfrm>
          <a:prstGeom prst="rect">
            <a:avLst/>
          </a:prstGeom>
          <a:solidFill>
            <a:srgbClr val="306BCF"/>
          </a:solidFill>
          <a:ln w="25400" cap="flat" cmpd="sng" algn="ctr">
            <a:solidFill>
              <a:srgbClr val="306BC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2" name="CasellaDiTesto 51"/>
          <p:cNvSpPr txBox="1"/>
          <p:nvPr/>
        </p:nvSpPr>
        <p:spPr>
          <a:xfrm>
            <a:off x="541052" y="2292409"/>
            <a:ext cx="1638450" cy="549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it-IT" sz="1000" kern="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UTILIZZANO O PENSANO DI UTILIZZARE ENTRO 3 ANNI</a:t>
            </a:r>
          </a:p>
        </p:txBody>
      </p:sp>
      <p:sp>
        <p:nvSpPr>
          <p:cNvPr id="53" name="Rettangolo 52"/>
          <p:cNvSpPr/>
          <p:nvPr/>
        </p:nvSpPr>
        <p:spPr>
          <a:xfrm>
            <a:off x="280115" y="1943159"/>
            <a:ext cx="216000" cy="217488"/>
          </a:xfrm>
          <a:prstGeom prst="rect">
            <a:avLst/>
          </a:prstGeom>
          <a:solidFill>
            <a:srgbClr val="C0C0C0"/>
          </a:solidFill>
          <a:ln w="25400" cap="flat" cmpd="sng" algn="ctr">
            <a:solidFill>
              <a:srgbClr val="C0C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4" name="CasellaDiTesto 53"/>
          <p:cNvSpPr txBox="1"/>
          <p:nvPr/>
        </p:nvSpPr>
        <p:spPr>
          <a:xfrm>
            <a:off x="541052" y="1922522"/>
            <a:ext cx="1257450" cy="549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defRPr/>
            </a:pPr>
            <a:r>
              <a:rPr lang="it-IT" sz="1000" kern="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HANNO VEICOLI CONNESSI IN FLOTTA</a:t>
            </a:r>
          </a:p>
        </p:txBody>
      </p:sp>
      <p:sp>
        <p:nvSpPr>
          <p:cNvPr id="55" name="Ignore">
            <a:extLst>
              <a:ext uri="{FF2B5EF4-FFF2-40B4-BE49-F238E27FC236}">
                <a16:creationId xmlns:a16="http://schemas.microsoft.com/office/drawing/2014/main" id="{57976685-F8E1-1CFF-C8E7-0871CC757387}"/>
              </a:ext>
            </a:extLst>
          </p:cNvPr>
          <p:cNvSpPr/>
          <p:nvPr/>
        </p:nvSpPr>
        <p:spPr>
          <a:xfrm>
            <a:off x="264899" y="2816053"/>
            <a:ext cx="149729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r>
              <a:rPr lang="it-IT" sz="900" i="1" kern="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</a:rPr>
              <a:t>* Considerando le aziende fino a 99 dipendenti</a:t>
            </a:r>
            <a:endParaRPr lang="en-GB" sz="900" i="1" kern="0" dirty="0">
              <a:solidFill>
                <a:prstClr val="white">
                  <a:lumMod val="6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2838450" y="342905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dirty="0">
                <a:latin typeface="Century Gothic" panose="020B0502020202020204" pitchFamily="34" charset="0"/>
              </a:rPr>
              <a:t>43</a:t>
            </a:r>
          </a:p>
        </p:txBody>
      </p:sp>
      <p:sp>
        <p:nvSpPr>
          <p:cNvPr id="58" name="CasellaDiTesto 57"/>
          <p:cNvSpPr txBox="1"/>
          <p:nvPr/>
        </p:nvSpPr>
        <p:spPr>
          <a:xfrm>
            <a:off x="2253812" y="3678891"/>
            <a:ext cx="415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dirty="0">
                <a:latin typeface="Century Gothic" panose="020B0502020202020204" pitchFamily="34" charset="0"/>
              </a:rPr>
              <a:t>57</a:t>
            </a:r>
          </a:p>
        </p:txBody>
      </p:sp>
      <p:sp>
        <p:nvSpPr>
          <p:cNvPr id="59" name="CasellaDiTesto 58"/>
          <p:cNvSpPr txBox="1"/>
          <p:nvPr/>
        </p:nvSpPr>
        <p:spPr>
          <a:xfrm>
            <a:off x="1971753" y="2644245"/>
            <a:ext cx="5052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dirty="0">
                <a:latin typeface="Century Gothic" panose="020B0502020202020204" pitchFamily="34" charset="0"/>
              </a:rPr>
              <a:t>79*</a:t>
            </a:r>
          </a:p>
        </p:txBody>
      </p:sp>
      <p:sp>
        <p:nvSpPr>
          <p:cNvPr id="60" name="object 2"/>
          <p:cNvSpPr/>
          <p:nvPr/>
        </p:nvSpPr>
        <p:spPr>
          <a:xfrm>
            <a:off x="5092700" y="742950"/>
            <a:ext cx="3780000" cy="1044575"/>
          </a:xfrm>
          <a:custGeom>
            <a:avLst/>
            <a:gdLst/>
            <a:ahLst/>
            <a:cxnLst/>
            <a:rect l="l" t="t" r="r" b="b"/>
            <a:pathLst>
              <a:path w="16989425" h="2558415">
                <a:moveTo>
                  <a:pt x="16989080" y="0"/>
                </a:moveTo>
                <a:lnTo>
                  <a:pt x="0" y="0"/>
                </a:lnTo>
                <a:lnTo>
                  <a:pt x="0" y="2558254"/>
                </a:lnTo>
                <a:lnTo>
                  <a:pt x="16989080" y="2558254"/>
                </a:lnTo>
                <a:lnTo>
                  <a:pt x="16989080" y="0"/>
                </a:lnTo>
                <a:close/>
              </a:path>
            </a:pathLst>
          </a:custGeom>
          <a:solidFill>
            <a:srgbClr val="306BCF"/>
          </a:solidFill>
        </p:spPr>
        <p:txBody>
          <a:bodyPr wrap="square" lIns="108000" tIns="36000" rIns="36000" bIns="0" rtlCol="0"/>
          <a:lstStyle/>
          <a:p>
            <a:pPr lvl="0" indent="266700">
              <a:defRPr/>
            </a:pPr>
            <a:r>
              <a:rPr lang="it-IT" sz="2400" b="1" kern="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r>
              <a:rPr lang="it-IT" sz="1400" kern="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200" kern="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ziende</a:t>
            </a:r>
            <a:r>
              <a:rPr lang="it-IT" sz="1200" b="1" kern="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200" kern="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 </a:t>
            </a:r>
            <a:r>
              <a:rPr lang="it-IT" sz="2400" b="1" kern="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</a:t>
            </a:r>
            <a:r>
              <a:rPr lang="it-IT" sz="1400" kern="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200" kern="0" spc="-5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rivolgono al </a:t>
            </a:r>
            <a:r>
              <a:rPr lang="it-IT" sz="1200" b="1" kern="0" spc="-5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artner di mobilità</a:t>
            </a:r>
            <a:r>
              <a:rPr lang="it-IT" sz="1200" kern="0" spc="-5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per </a:t>
            </a:r>
            <a:r>
              <a:rPr lang="it-IT" sz="1200" b="1" kern="0" spc="-5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implementazione</a:t>
            </a:r>
            <a:r>
              <a:rPr lang="it-IT" sz="1200" kern="0" spc="-5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i un sistema di </a:t>
            </a:r>
            <a:r>
              <a:rPr lang="it-IT" sz="1200" b="1" kern="0" spc="-5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lematica</a:t>
            </a:r>
            <a:r>
              <a:rPr lang="it-IT" sz="1200" kern="0" spc="-5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ulla propria flotta, </a:t>
            </a:r>
            <a:r>
              <a:rPr lang="it-IT" sz="1200" b="1" kern="0" spc="-5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conoscendogli</a:t>
            </a:r>
            <a:r>
              <a:rPr lang="it-IT" sz="1200" kern="0" spc="-5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una </a:t>
            </a:r>
            <a:r>
              <a:rPr lang="it-IT" sz="1200" b="1" kern="0" spc="-5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xpertise</a:t>
            </a:r>
            <a:r>
              <a:rPr lang="it-IT" sz="1200" kern="0" spc="-50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lmeno equivalente a soggetti esterni.</a:t>
            </a:r>
          </a:p>
        </p:txBody>
      </p:sp>
      <p:sp>
        <p:nvSpPr>
          <p:cNvPr id="61" name="Rettangolo 60"/>
          <p:cNvSpPr/>
          <p:nvPr/>
        </p:nvSpPr>
        <p:spPr>
          <a:xfrm>
            <a:off x="5210352" y="953439"/>
            <a:ext cx="144000" cy="144000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aphicFrame>
        <p:nvGraphicFramePr>
          <p:cNvPr id="62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9727537"/>
              </p:ext>
            </p:extLst>
          </p:nvPr>
        </p:nvGraphicFramePr>
        <p:xfrm>
          <a:off x="5842874" y="1948153"/>
          <a:ext cx="2279651" cy="2497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3" name="Callout 6 62"/>
          <p:cNvSpPr/>
          <p:nvPr/>
        </p:nvSpPr>
        <p:spPr>
          <a:xfrm>
            <a:off x="7959889" y="2106865"/>
            <a:ext cx="912811" cy="236205"/>
          </a:xfrm>
          <a:prstGeom prst="accentCallout2">
            <a:avLst>
              <a:gd name="adj1" fmla="val 67817"/>
              <a:gd name="adj2" fmla="val -7672"/>
              <a:gd name="adj3" fmla="val 66818"/>
              <a:gd name="adj4" fmla="val -23568"/>
              <a:gd name="adj5" fmla="val 101006"/>
              <a:gd name="adj6" fmla="val -34962"/>
            </a:avLst>
          </a:prstGeom>
          <a:noFill/>
          <a:ln w="28575">
            <a:solidFill>
              <a:srgbClr val="306BC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kern="1200" dirty="0">
                <a:solidFill>
                  <a:srgbClr val="485156"/>
                </a:solidFill>
                <a:latin typeface="Century Gothic" panose="020B0502020202020204" pitchFamily="34" charset="0"/>
              </a:rPr>
              <a:t>P</a:t>
            </a:r>
            <a:r>
              <a:rPr kumimoji="0" lang="it-IT" sz="1400" i="0" u="none" strike="noStrike" kern="1200" cap="none" spc="0" normalizeH="0" baseline="0" noProof="0" dirty="0" err="1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</a:rPr>
              <a:t>artner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</a:rPr>
              <a:t>di</a:t>
            </a:r>
            <a:r>
              <a:rPr kumimoji="0" lang="it-IT" sz="1400" i="0" u="none" strike="noStrike" kern="1200" cap="none" spc="0" normalizeH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</a:rPr>
              <a:t>mobilità</a:t>
            </a:r>
            <a:endParaRPr kumimoji="0" lang="it-IT" sz="900" i="0" u="none" strike="noStrike" kern="1200" cap="none" spc="0" normalizeH="0" baseline="0" noProof="0" dirty="0">
              <a:ln>
                <a:noFill/>
              </a:ln>
              <a:solidFill>
                <a:srgbClr val="485156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4" name="Ignore">
            <a:extLst>
              <a:ext uri="{FF2B5EF4-FFF2-40B4-BE49-F238E27FC236}">
                <a16:creationId xmlns:a16="http://schemas.microsoft.com/office/drawing/2014/main" id="{57976685-F8E1-1CFF-C8E7-0871CC757387}"/>
              </a:ext>
            </a:extLst>
          </p:cNvPr>
          <p:cNvSpPr/>
          <p:nvPr/>
        </p:nvSpPr>
        <p:spPr>
          <a:xfrm>
            <a:off x="41750" y="4401971"/>
            <a:ext cx="3060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r>
              <a:rPr lang="it-IT" sz="800" i="1" kern="0" spc="-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</a:rPr>
              <a:t>Fonte: Il Barometro delle Flotte Aziendali e della Mobilità 2024</a:t>
            </a:r>
          </a:p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endParaRPr lang="en-GB" sz="800" i="1" kern="0" spc="-50" dirty="0">
              <a:solidFill>
                <a:prstClr val="white">
                  <a:lumMod val="6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Ignore">
            <a:extLst>
              <a:ext uri="{FF2B5EF4-FFF2-40B4-BE49-F238E27FC236}">
                <a16:creationId xmlns:a16="http://schemas.microsoft.com/office/drawing/2014/main" id="{57976685-F8E1-1CFF-C8E7-0871CC757387}"/>
              </a:ext>
            </a:extLst>
          </p:cNvPr>
          <p:cNvSpPr/>
          <p:nvPr/>
        </p:nvSpPr>
        <p:spPr>
          <a:xfrm>
            <a:off x="5641976" y="4401971"/>
            <a:ext cx="335915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r>
              <a:rPr lang="it-IT" sz="800" i="1" kern="0" spc="-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</a:rPr>
              <a:t>Fonte: Il ruolo della connettività nel presente e nel futuro delle flotte operative</a:t>
            </a:r>
          </a:p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endParaRPr lang="en-GB" sz="800" i="1" kern="0" spc="-50" dirty="0">
              <a:solidFill>
                <a:prstClr val="white">
                  <a:lumMod val="6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Callout 6 65"/>
          <p:cNvSpPr/>
          <p:nvPr/>
        </p:nvSpPr>
        <p:spPr>
          <a:xfrm>
            <a:off x="4593945" y="3727733"/>
            <a:ext cx="1232813" cy="579423"/>
          </a:xfrm>
          <a:prstGeom prst="accentCallout2">
            <a:avLst>
              <a:gd name="adj1" fmla="val 31243"/>
              <a:gd name="adj2" fmla="val 103994"/>
              <a:gd name="adj3" fmla="val 29889"/>
              <a:gd name="adj4" fmla="val 118597"/>
              <a:gd name="adj5" fmla="val -2325"/>
              <a:gd name="adj6" fmla="val 127122"/>
            </a:avLst>
          </a:prstGeom>
          <a:noFill/>
          <a:ln w="28575" cap="flat" cmpd="sng" algn="ctr">
            <a:solidFill>
              <a:srgbClr val="D6D7D9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</a:rPr>
              <a:t>A un soggetto esterno specializzato (IT) </a:t>
            </a:r>
          </a:p>
        </p:txBody>
      </p:sp>
    </p:spTree>
    <p:extLst>
      <p:ext uri="{BB962C8B-B14F-4D97-AF65-F5344CB8AC3E}">
        <p14:creationId xmlns:p14="http://schemas.microsoft.com/office/powerpoint/2010/main" val="394359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5E84346F-0879-CFBA-7782-6B9129A5E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1" y="71441"/>
            <a:ext cx="6610894" cy="627060"/>
          </a:xfrm>
        </p:spPr>
        <p:txBody>
          <a:bodyPr/>
          <a:lstStyle/>
          <a:p>
            <a:r>
              <a:rPr lang="it-IT" dirty="0"/>
              <a:t> </a:t>
            </a: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3484BE77-42A3-AD7E-B19B-C383BD6FF587}"/>
              </a:ext>
            </a:extLst>
          </p:cNvPr>
          <p:cNvSpPr txBox="1">
            <a:spLocks/>
          </p:cNvSpPr>
          <p:nvPr/>
        </p:nvSpPr>
        <p:spPr>
          <a:xfrm>
            <a:off x="266700" y="71441"/>
            <a:ext cx="9173633" cy="506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Helvetica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it-IT" sz="2000" spc="-50" dirty="0">
                <a:solidFill>
                  <a:prstClr val="black"/>
                </a:solidFill>
              </a:rPr>
              <a:t>RICERCA DI EFFICIENZA E CONTROLLO DEI COSTI GLI OBIETTIVI PRINCIPALI</a:t>
            </a:r>
            <a:endParaRPr kumimoji="0" lang="it-IT" sz="2000" b="0" i="0" u="none" strike="noStrike" kern="1200" cap="none" spc="-5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98501"/>
            <a:ext cx="3387036" cy="3828925"/>
          </a:xfrm>
          <a:prstGeom prst="rect">
            <a:avLst/>
          </a:prstGeom>
        </p:spPr>
      </p:pic>
      <p:sp>
        <p:nvSpPr>
          <p:cNvPr id="14" name="object 15"/>
          <p:cNvSpPr txBox="1"/>
          <p:nvPr/>
        </p:nvSpPr>
        <p:spPr>
          <a:xfrm>
            <a:off x="3495945" y="698501"/>
            <a:ext cx="5544000" cy="3318857"/>
          </a:xfrm>
          <a:prstGeom prst="rect">
            <a:avLst/>
          </a:prstGeom>
        </p:spPr>
        <p:txBody>
          <a:bodyPr vert="horz" wrap="square" lIns="0" tIns="25400" rIns="0" bIns="0" rtlCol="0">
            <a:spAutoFit/>
          </a:bodyPr>
          <a:lstStyle/>
          <a:p>
            <a:pPr marL="271463" indent="-271463">
              <a:spcBef>
                <a:spcPts val="1800"/>
              </a:spcBef>
              <a:buClr>
                <a:srgbClr val="FFC000"/>
              </a:buClr>
              <a:buSzPct val="95000"/>
              <a:buFont typeface="Wingdings 2" panose="05020102010507070707" pitchFamily="18" charset="2"/>
              <a:buChar char="¢"/>
              <a:defRPr/>
            </a:pP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tile</a:t>
            </a:r>
            <a:r>
              <a:rPr lang="it-IT" sz="1400" b="1" spc="-2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 guida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sum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e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correnze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rappresentano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ti più important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 supporto degli obiettivi</a:t>
            </a:r>
          </a:p>
          <a:p>
            <a:pPr marL="271463" indent="-271463">
              <a:spcBef>
                <a:spcPts val="1800"/>
              </a:spcBef>
              <a:buClr>
                <a:srgbClr val="FFC000"/>
              </a:buClr>
              <a:buSzPct val="95000"/>
              <a:buFont typeface="Wingdings 2" panose="05020102010507070707" pitchFamily="18" charset="2"/>
              <a:buChar char="¢"/>
              <a:defRPr/>
            </a:pP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capacità di prendere decisioni in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mp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apid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basate su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t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utomatizzat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mpestiv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ffidabil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e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ertificati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iventa elemento rilevante per la gestione del business.</a:t>
            </a:r>
          </a:p>
          <a:p>
            <a:pPr marL="271463" indent="-271463">
              <a:spcBef>
                <a:spcPts val="1800"/>
              </a:spcBef>
              <a:buClr>
                <a:srgbClr val="FFC000"/>
              </a:buClr>
              <a:buSzPct val="95000"/>
              <a:buFont typeface="Wingdings 2" panose="05020102010507070707" pitchFamily="18" charset="2"/>
              <a:buChar char="¢"/>
              <a:defRPr/>
            </a:pP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</a:t>
            </a:r>
            <a:r>
              <a:rPr lang="it-IT" sz="1400" b="1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ziende</a:t>
            </a:r>
            <a:r>
              <a:rPr lang="it-IT" sz="1400" b="1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 10 consultano i dati</a:t>
            </a:r>
            <a:r>
              <a:rPr lang="it-IT" sz="1400" b="1" spc="-2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enerati dalla connettività dei veicoli</a:t>
            </a:r>
          </a:p>
          <a:p>
            <a:pPr marL="271463" indent="-271463">
              <a:spcBef>
                <a:spcPts val="1800"/>
              </a:spcBef>
              <a:buClr>
                <a:srgbClr val="FFC000"/>
              </a:buClr>
              <a:buSzPct val="95000"/>
              <a:buFont typeface="Wingdings 2" panose="05020102010507070707" pitchFamily="18" charset="2"/>
              <a:buChar char="¢"/>
              <a:defRPr/>
            </a:pP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l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0% 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è già espresso sul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torno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lla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nettività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ugli obiettivi aziendali: il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7% 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dichiara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oddisfatto/molto</a:t>
            </a:r>
            <a:r>
              <a:rPr lang="it-IT" sz="1400" b="1" spc="-20" dirty="0">
                <a:solidFill>
                  <a:srgbClr val="FFC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oddisfatto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</a:p>
          <a:p>
            <a:pPr marL="271463" indent="-271463">
              <a:spcBef>
                <a:spcPts val="1800"/>
              </a:spcBef>
              <a:buClr>
                <a:srgbClr val="FFC000"/>
              </a:buClr>
              <a:buSzPct val="95000"/>
              <a:buFont typeface="Wingdings 2" panose="05020102010507070707" pitchFamily="18" charset="2"/>
              <a:buChar char="¢"/>
              <a:defRPr/>
            </a:pP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pendentemente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alla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lotta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gestita, l’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5% 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lle aziende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uole continuare a investire 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lla </a:t>
            </a:r>
            <a:r>
              <a:rPr lang="it-IT" sz="1400" b="1" spc="-20" dirty="0">
                <a:solidFill>
                  <a:srgbClr val="3473D4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nettività</a:t>
            </a:r>
            <a:r>
              <a:rPr lang="it-IT" sz="1400" spc="-20" dirty="0">
                <a:solidFill>
                  <a:srgbClr val="48515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i propri mezzi</a:t>
            </a:r>
          </a:p>
        </p:txBody>
      </p:sp>
    </p:spTree>
    <p:extLst>
      <p:ext uri="{BB962C8B-B14F-4D97-AF65-F5344CB8AC3E}">
        <p14:creationId xmlns:p14="http://schemas.microsoft.com/office/powerpoint/2010/main" val="14974378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211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6" imgH="416" progId="TCLayout.ActiveDocument.1">
                  <p:embed/>
                </p:oleObj>
              </mc:Choice>
              <mc:Fallback>
                <p:oleObj name="Diapositiva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it-IT" sz="3200" dirty="0">
              <a:latin typeface="Century Gothic" panose="020B0502020202020204" pitchFamily="34" charset="0"/>
              <a:ea typeface="+mj-ea"/>
              <a:cs typeface="Helvetica" panose="020B0604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24" name="Immagine 2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94976"/>
            <a:ext cx="3387036" cy="3835976"/>
          </a:xfrm>
          <a:prstGeom prst="rect">
            <a:avLst/>
          </a:prstGeom>
        </p:spPr>
      </p:pic>
      <p:sp>
        <p:nvSpPr>
          <p:cNvPr id="6" name="Titolo 5">
            <a:extLst>
              <a:ext uri="{FF2B5EF4-FFF2-40B4-BE49-F238E27FC236}">
                <a16:creationId xmlns:a16="http://schemas.microsoft.com/office/drawing/2014/main" id="{5E84346F-0879-CFBA-7782-6B9129A5E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1" y="71441"/>
            <a:ext cx="6610894" cy="627060"/>
          </a:xfrm>
        </p:spPr>
        <p:txBody>
          <a:bodyPr/>
          <a:lstStyle/>
          <a:p>
            <a:r>
              <a:rPr lang="it-IT" dirty="0"/>
              <a:t> </a:t>
            </a: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3484BE77-42A3-AD7E-B19B-C383BD6FF587}"/>
              </a:ext>
            </a:extLst>
          </p:cNvPr>
          <p:cNvSpPr txBox="1">
            <a:spLocks/>
          </p:cNvSpPr>
          <p:nvPr/>
        </p:nvSpPr>
        <p:spPr>
          <a:xfrm>
            <a:off x="266700" y="71441"/>
            <a:ext cx="8564033" cy="506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Helvetica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it-IT" sz="2200" dirty="0">
                <a:solidFill>
                  <a:prstClr val="black"/>
                </a:solidFill>
              </a:rPr>
              <a:t>IL RUOLO DEI DATI NELLA MOBILITÀ ALTERNATIVA E IN SHARING</a:t>
            </a:r>
            <a:endParaRPr kumimoji="0" lang="it-IT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" name="object 16"/>
          <p:cNvSpPr txBox="1"/>
          <p:nvPr/>
        </p:nvSpPr>
        <p:spPr>
          <a:xfrm>
            <a:off x="2045360" y="2270574"/>
            <a:ext cx="143481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BNPPSansCondensed-ExtraBold"/>
              </a:rPr>
              <a:t> 65%</a:t>
            </a:r>
            <a:endParaRPr kumimoji="0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BNPPSansCondensed-ExtraBold"/>
            </a:endParaRPr>
          </a:p>
        </p:txBody>
      </p:sp>
      <p:sp>
        <p:nvSpPr>
          <p:cNvPr id="21" name="object 23"/>
          <p:cNvSpPr/>
          <p:nvPr/>
        </p:nvSpPr>
        <p:spPr>
          <a:xfrm>
            <a:off x="1870146" y="2718061"/>
            <a:ext cx="220345" cy="220345"/>
          </a:xfrm>
          <a:custGeom>
            <a:avLst/>
            <a:gdLst/>
            <a:ahLst/>
            <a:cxnLst/>
            <a:rect l="l" t="t" r="r" b="b"/>
            <a:pathLst>
              <a:path w="220344" h="220345">
                <a:moveTo>
                  <a:pt x="219887" y="0"/>
                </a:moveTo>
                <a:lnTo>
                  <a:pt x="0" y="0"/>
                </a:lnTo>
                <a:lnTo>
                  <a:pt x="0" y="219887"/>
                </a:lnTo>
                <a:lnTo>
                  <a:pt x="219887" y="219887"/>
                </a:lnTo>
                <a:lnTo>
                  <a:pt x="219887" y="0"/>
                </a:lnTo>
                <a:close/>
              </a:path>
            </a:pathLst>
          </a:custGeom>
          <a:solidFill>
            <a:srgbClr val="3473D4"/>
          </a:solidFill>
          <a:ln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2" name="object 24"/>
          <p:cNvSpPr/>
          <p:nvPr/>
        </p:nvSpPr>
        <p:spPr>
          <a:xfrm>
            <a:off x="1870146" y="2938406"/>
            <a:ext cx="6480000" cy="0"/>
          </a:xfrm>
          <a:custGeom>
            <a:avLst/>
            <a:gdLst/>
            <a:ahLst/>
            <a:cxnLst/>
            <a:rect l="l" t="t" r="r" b="b"/>
            <a:pathLst>
              <a:path w="8486140">
                <a:moveTo>
                  <a:pt x="0" y="0"/>
                </a:moveTo>
                <a:lnTo>
                  <a:pt x="8485569" y="0"/>
                </a:lnTo>
              </a:path>
            </a:pathLst>
          </a:custGeom>
          <a:ln w="10469"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3387036" y="1922104"/>
            <a:ext cx="4950513" cy="101585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Le aziende che offrono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almeno un servizio di mobilità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* ai propri dipendenti, anche tramite una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analisi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dei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dati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e degli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spostamenti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casa-lavoro</a:t>
            </a:r>
          </a:p>
        </p:txBody>
      </p:sp>
      <p:sp>
        <p:nvSpPr>
          <p:cNvPr id="29" name="object 16"/>
          <p:cNvSpPr txBox="1"/>
          <p:nvPr/>
        </p:nvSpPr>
        <p:spPr>
          <a:xfrm>
            <a:off x="1925681" y="3415473"/>
            <a:ext cx="162616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BNPPSansCondensed-ExtraBold"/>
              </a:rPr>
              <a:t> </a:t>
            </a:r>
            <a:r>
              <a:rPr kumimoji="0" lang="it-IT" sz="2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BNPPSansCondensed-ExtraBold"/>
              </a:rPr>
              <a:t>~</a:t>
            </a:r>
            <a:r>
              <a:rPr kumimoji="0" lang="it-IT" sz="4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BNPPSansCondensed-ExtraBold"/>
              </a:rPr>
              <a:t>60%</a:t>
            </a:r>
            <a:endParaRPr kumimoji="0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BNPPSansCondensed-ExtraBold"/>
            </a:endParaRPr>
          </a:p>
        </p:txBody>
      </p:sp>
      <p:sp>
        <p:nvSpPr>
          <p:cNvPr id="30" name="object 23"/>
          <p:cNvSpPr/>
          <p:nvPr/>
        </p:nvSpPr>
        <p:spPr>
          <a:xfrm>
            <a:off x="1870146" y="3862960"/>
            <a:ext cx="220345" cy="220345"/>
          </a:xfrm>
          <a:custGeom>
            <a:avLst/>
            <a:gdLst/>
            <a:ahLst/>
            <a:cxnLst/>
            <a:rect l="l" t="t" r="r" b="b"/>
            <a:pathLst>
              <a:path w="220344" h="220345">
                <a:moveTo>
                  <a:pt x="219887" y="0"/>
                </a:moveTo>
                <a:lnTo>
                  <a:pt x="0" y="0"/>
                </a:lnTo>
                <a:lnTo>
                  <a:pt x="0" y="219887"/>
                </a:lnTo>
                <a:lnTo>
                  <a:pt x="219887" y="219887"/>
                </a:lnTo>
                <a:lnTo>
                  <a:pt x="219887" y="0"/>
                </a:lnTo>
                <a:close/>
              </a:path>
            </a:pathLst>
          </a:custGeom>
          <a:solidFill>
            <a:srgbClr val="3473D4"/>
          </a:solidFill>
          <a:ln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1" name="object 24"/>
          <p:cNvSpPr/>
          <p:nvPr/>
        </p:nvSpPr>
        <p:spPr>
          <a:xfrm>
            <a:off x="1870146" y="4083305"/>
            <a:ext cx="6480000" cy="0"/>
          </a:xfrm>
          <a:custGeom>
            <a:avLst/>
            <a:gdLst/>
            <a:ahLst/>
            <a:cxnLst/>
            <a:rect l="l" t="t" r="r" b="b"/>
            <a:pathLst>
              <a:path w="8486140">
                <a:moveTo>
                  <a:pt x="0" y="0"/>
                </a:moveTo>
                <a:lnTo>
                  <a:pt x="8485569" y="0"/>
                </a:lnTo>
              </a:path>
            </a:pathLst>
          </a:custGeom>
          <a:ln w="10469"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" name="CasellaDiTesto 31"/>
          <p:cNvSpPr txBox="1"/>
          <p:nvPr/>
        </p:nvSpPr>
        <p:spPr>
          <a:xfrm>
            <a:off x="3387036" y="3256619"/>
            <a:ext cx="4053488" cy="8262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I dipendenti che sono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distanti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meno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di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20 km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o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meno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di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30 minuti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dal posto di lavoro. </a:t>
            </a:r>
          </a:p>
        </p:txBody>
      </p:sp>
      <p:sp>
        <p:nvSpPr>
          <p:cNvPr id="13" name="Ignore">
            <a:extLst>
              <a:ext uri="{FF2B5EF4-FFF2-40B4-BE49-F238E27FC236}">
                <a16:creationId xmlns:a16="http://schemas.microsoft.com/office/drawing/2014/main" id="{57976685-F8E1-1CFF-C8E7-0871CC757387}"/>
              </a:ext>
            </a:extLst>
          </p:cNvPr>
          <p:cNvSpPr/>
          <p:nvPr/>
        </p:nvSpPr>
        <p:spPr>
          <a:xfrm>
            <a:off x="4997669" y="4401971"/>
            <a:ext cx="408813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r>
              <a:rPr lang="it-IT" sz="800" i="1" kern="0" spc="-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</a:rPr>
              <a:t>Fonte: Il Barometro delle Flotte Aziendali e della Mobilità 2024 // </a:t>
            </a:r>
            <a:r>
              <a:rPr lang="it-IT" sz="800" i="1" kern="0" spc="-50" dirty="0" err="1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</a:rPr>
              <a:t>Employee</a:t>
            </a:r>
            <a:r>
              <a:rPr lang="it-IT" sz="800" i="1" kern="0" spc="-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</a:rPr>
              <a:t> Mobility Report 2024</a:t>
            </a:r>
          </a:p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endParaRPr lang="en-GB" sz="800" i="1" kern="0" spc="-50" dirty="0">
              <a:solidFill>
                <a:prstClr val="white">
                  <a:lumMod val="6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Ignore">
            <a:extLst>
              <a:ext uri="{FF2B5EF4-FFF2-40B4-BE49-F238E27FC236}">
                <a16:creationId xmlns:a16="http://schemas.microsoft.com/office/drawing/2014/main" id="{57976685-F8E1-1CFF-C8E7-0871CC757387}"/>
              </a:ext>
            </a:extLst>
          </p:cNvPr>
          <p:cNvSpPr/>
          <p:nvPr/>
        </p:nvSpPr>
        <p:spPr>
          <a:xfrm>
            <a:off x="6502834" y="2974722"/>
            <a:ext cx="223702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r>
              <a:rPr lang="it-IT" sz="800" i="1" kern="0" spc="-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</a:rPr>
              <a:t>* es: Corporate Car Sharing, Bike Sharing, …</a:t>
            </a:r>
          </a:p>
          <a:p>
            <a:pPr marL="0" lvl="1" defTabSz="609570" eaLnBrk="0" hangingPunct="0">
              <a:spcBef>
                <a:spcPts val="0"/>
              </a:spcBef>
              <a:buClr>
                <a:prstClr val="white">
                  <a:lumMod val="50000"/>
                </a:prstClr>
              </a:buClr>
              <a:buSzPct val="120000"/>
              <a:defRPr/>
            </a:pPr>
            <a:endParaRPr lang="en-GB" sz="800" i="1" kern="0" spc="-50" dirty="0">
              <a:solidFill>
                <a:prstClr val="white">
                  <a:lumMod val="6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object 16"/>
          <p:cNvSpPr txBox="1"/>
          <p:nvPr/>
        </p:nvSpPr>
        <p:spPr>
          <a:xfrm>
            <a:off x="1998793" y="1045455"/>
            <a:ext cx="143481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BNPPSansCondensed-ExtraBold"/>
              </a:rPr>
              <a:t> 8/10</a:t>
            </a:r>
            <a:endParaRPr kumimoji="0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BNPPSansCondensed-ExtraBold"/>
            </a:endParaRPr>
          </a:p>
        </p:txBody>
      </p:sp>
      <p:sp>
        <p:nvSpPr>
          <p:cNvPr id="16" name="object 23"/>
          <p:cNvSpPr/>
          <p:nvPr/>
        </p:nvSpPr>
        <p:spPr>
          <a:xfrm>
            <a:off x="1870146" y="1492942"/>
            <a:ext cx="220345" cy="220345"/>
          </a:xfrm>
          <a:custGeom>
            <a:avLst/>
            <a:gdLst/>
            <a:ahLst/>
            <a:cxnLst/>
            <a:rect l="l" t="t" r="r" b="b"/>
            <a:pathLst>
              <a:path w="220344" h="220345">
                <a:moveTo>
                  <a:pt x="219887" y="0"/>
                </a:moveTo>
                <a:lnTo>
                  <a:pt x="0" y="0"/>
                </a:lnTo>
                <a:lnTo>
                  <a:pt x="0" y="219887"/>
                </a:lnTo>
                <a:lnTo>
                  <a:pt x="219887" y="219887"/>
                </a:lnTo>
                <a:lnTo>
                  <a:pt x="219887" y="0"/>
                </a:lnTo>
                <a:close/>
              </a:path>
            </a:pathLst>
          </a:custGeom>
          <a:solidFill>
            <a:srgbClr val="3473D4"/>
          </a:solidFill>
          <a:ln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7" name="object 24"/>
          <p:cNvSpPr/>
          <p:nvPr/>
        </p:nvSpPr>
        <p:spPr>
          <a:xfrm>
            <a:off x="1870146" y="1713287"/>
            <a:ext cx="6480000" cy="0"/>
          </a:xfrm>
          <a:custGeom>
            <a:avLst/>
            <a:gdLst/>
            <a:ahLst/>
            <a:cxnLst/>
            <a:rect l="l" t="t" r="r" b="b"/>
            <a:pathLst>
              <a:path w="8486140">
                <a:moveTo>
                  <a:pt x="0" y="0"/>
                </a:moveTo>
                <a:lnTo>
                  <a:pt x="8485569" y="0"/>
                </a:lnTo>
              </a:path>
            </a:pathLst>
          </a:custGeom>
          <a:ln w="10469">
            <a:solidFill>
              <a:srgbClr val="3473D4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3387036" y="696985"/>
            <a:ext cx="4950513" cy="101585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sono i </a:t>
            </a:r>
            <a:r>
              <a:rPr lang="it-IT" sz="14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decision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maker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sulle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soluzioni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di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mobilità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che appartengono al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Top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Management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(CEO,CFO,COO..) e che hanno come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priorità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temi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ESG</a:t>
            </a:r>
            <a:r>
              <a:rPr 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 e </a:t>
            </a:r>
            <a:r>
              <a:rPr 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WELFARE</a:t>
            </a:r>
          </a:p>
        </p:txBody>
      </p:sp>
    </p:spTree>
    <p:extLst>
      <p:ext uri="{BB962C8B-B14F-4D97-AF65-F5344CB8AC3E}">
        <p14:creationId xmlns:p14="http://schemas.microsoft.com/office/powerpoint/2010/main" val="5446514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6" imgH="416" progId="TCLayout.ActiveDocument.1">
                  <p:embed/>
                </p:oleObj>
              </mc:Choice>
              <mc:Fallback>
                <p:oleObj name="Diapositiva think-cell" r:id="rId4" imgW="416" imgH="416" progId="TCLayout.ActiveDocument.1">
                  <p:embed/>
                  <p:pic>
                    <p:nvPicPr>
                      <p:cNvPr id="5" name="Ogget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tangolo 1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3484BE77-42A3-AD7E-B19B-C383BD6FF587}"/>
              </a:ext>
            </a:extLst>
          </p:cNvPr>
          <p:cNvSpPr txBox="1">
            <a:spLocks/>
          </p:cNvSpPr>
          <p:nvPr/>
        </p:nvSpPr>
        <p:spPr>
          <a:xfrm>
            <a:off x="266700" y="71441"/>
            <a:ext cx="8399214" cy="506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Helvetica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-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Helvetica" panose="020B0604020202020204" pitchFamily="34" charset="0"/>
              </a:rPr>
              <a:t>LE SOLUZIONI DI SHARING: UN APPROCCIO MODERNO ED EFFICIENTE PER</a:t>
            </a:r>
            <a:r>
              <a:rPr kumimoji="0" lang="it-IT" sz="1800" b="0" i="0" u="none" strike="noStrike" kern="1200" cap="none" spc="-7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Helvetica" panose="020B0604020202020204" pitchFamily="34" charset="0"/>
              </a:rPr>
              <a:t> TRAGUARDARE OBIETTIVI DI </a:t>
            </a:r>
            <a:r>
              <a:rPr kumimoji="0" lang="it-IT" sz="1800" b="0" i="0" u="none" strike="noStrike" kern="1200" cap="none" spc="-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Helvetica" panose="020B0604020202020204" pitchFamily="34" charset="0"/>
              </a:rPr>
              <a:t>COSTI, SOSTENIBILITÀ E GESTIONE DELLA FLOTTA</a:t>
            </a:r>
          </a:p>
        </p:txBody>
      </p:sp>
      <p:sp>
        <p:nvSpPr>
          <p:cNvPr id="27" name="object 2"/>
          <p:cNvSpPr/>
          <p:nvPr/>
        </p:nvSpPr>
        <p:spPr>
          <a:xfrm>
            <a:off x="266698" y="721358"/>
            <a:ext cx="8712000" cy="552063"/>
          </a:xfrm>
          <a:custGeom>
            <a:avLst/>
            <a:gdLst/>
            <a:ahLst/>
            <a:cxnLst/>
            <a:rect l="l" t="t" r="r" b="b"/>
            <a:pathLst>
              <a:path w="16989425" h="2558415">
                <a:moveTo>
                  <a:pt x="16989080" y="0"/>
                </a:moveTo>
                <a:lnTo>
                  <a:pt x="0" y="0"/>
                </a:lnTo>
                <a:lnTo>
                  <a:pt x="0" y="2558254"/>
                </a:lnTo>
                <a:lnTo>
                  <a:pt x="16989080" y="2558254"/>
                </a:lnTo>
                <a:lnTo>
                  <a:pt x="16989080" y="0"/>
                </a:lnTo>
                <a:close/>
              </a:path>
            </a:pathLst>
          </a:custGeom>
          <a:solidFill>
            <a:srgbClr val="306BCF"/>
          </a:solidFill>
        </p:spPr>
        <p:txBody>
          <a:bodyPr wrap="square" lIns="108000" tIns="36000" rIns="36000" bIns="0" rtlCol="0"/>
          <a:lstStyle/>
          <a:p>
            <a:pPr marL="0" marR="0" lvl="0" indent="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dottare un sistema basato su dati per la gestione di veicoli non assegnati porta a una </a:t>
            </a:r>
            <a:r>
              <a:rPr kumimoji="0" lang="it-IT" sz="16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ottimizzazione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ell’uso della ‘’</a:t>
            </a:r>
            <a:r>
              <a:rPr kumimoji="0" lang="it-IT" sz="16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isorsa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’’ </a:t>
            </a:r>
            <a:r>
              <a:rPr kumimoji="0" lang="it-IT" sz="16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lotta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, un </a:t>
            </a:r>
            <a:r>
              <a:rPr kumimoji="0" lang="it-IT" sz="16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umento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ella </a:t>
            </a:r>
            <a:r>
              <a:rPr kumimoji="0" lang="it-IT" sz="16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roduttività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e un </a:t>
            </a:r>
            <a:r>
              <a:rPr kumimoji="0" lang="it-IT" sz="16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umento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600" b="1" i="0" u="none" strike="noStrike" kern="0" cap="none" spc="-5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ell’efficienza</a:t>
            </a: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sui costi.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378485" y="818832"/>
            <a:ext cx="144000" cy="144000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730145" y="2194860"/>
            <a:ext cx="3420000" cy="193899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Massimizzazion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ell’utilizzo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ei veicoli aziendali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iduzion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ei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imbors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per l’uso di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mezz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rivati 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er sviluppo del business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iduzion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el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numero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i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veicol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rivat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in azienda e incentivo a spostamenti più sostenibili</a:t>
            </a:r>
          </a:p>
        </p:txBody>
      </p:sp>
      <p:sp>
        <p:nvSpPr>
          <p:cNvPr id="30" name="CasellaDiTesto 29"/>
          <p:cNvSpPr txBox="1"/>
          <p:nvPr/>
        </p:nvSpPr>
        <p:spPr>
          <a:xfrm>
            <a:off x="4938358" y="2194860"/>
            <a:ext cx="3457930" cy="193899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vere una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lotta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sempr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disponibil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e di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acil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gestion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per gestire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carich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i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avoro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o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erm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improvvisi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Veicoli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allestit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secondo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le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necessità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aziendali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Riduzion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di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cost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egati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a soluzioni di noleggio a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breve</a:t>
            </a:r>
            <a:r>
              <a:rPr kumimoji="0" lang="it-IT" sz="1400" b="0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-20" normalizeH="0" baseline="0" noProof="0" dirty="0">
                <a:ln>
                  <a:noFill/>
                </a:ln>
                <a:solidFill>
                  <a:srgbClr val="48515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termine</a:t>
            </a:r>
          </a:p>
        </p:txBody>
      </p:sp>
      <p:sp>
        <p:nvSpPr>
          <p:cNvPr id="31" name="object 2"/>
          <p:cNvSpPr/>
          <p:nvPr/>
        </p:nvSpPr>
        <p:spPr>
          <a:xfrm>
            <a:off x="730145" y="1619251"/>
            <a:ext cx="3420000" cy="341614"/>
          </a:xfrm>
          <a:custGeom>
            <a:avLst/>
            <a:gdLst/>
            <a:ahLst/>
            <a:cxnLst/>
            <a:rect l="l" t="t" r="r" b="b"/>
            <a:pathLst>
              <a:path w="16989425" h="2558415">
                <a:moveTo>
                  <a:pt x="16989080" y="0"/>
                </a:moveTo>
                <a:lnTo>
                  <a:pt x="0" y="0"/>
                </a:lnTo>
                <a:lnTo>
                  <a:pt x="0" y="2558254"/>
                </a:lnTo>
                <a:lnTo>
                  <a:pt x="16989080" y="2558254"/>
                </a:lnTo>
                <a:lnTo>
                  <a:pt x="16989080" y="0"/>
                </a:lnTo>
                <a:close/>
              </a:path>
            </a:pathLst>
          </a:custGeom>
          <a:solidFill>
            <a:srgbClr val="306BCF"/>
          </a:solidFill>
        </p:spPr>
        <p:txBody>
          <a:bodyPr wrap="square" lIns="36000" tIns="36000" rIns="36000" bIns="36000" rtlCol="0" anchor="ctr"/>
          <a:lstStyle/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PASSANGER CAR</a:t>
            </a:r>
          </a:p>
        </p:txBody>
      </p:sp>
      <p:sp>
        <p:nvSpPr>
          <p:cNvPr id="32" name="object 2"/>
          <p:cNvSpPr/>
          <p:nvPr/>
        </p:nvSpPr>
        <p:spPr>
          <a:xfrm>
            <a:off x="4938358" y="1619251"/>
            <a:ext cx="3420000" cy="341614"/>
          </a:xfrm>
          <a:custGeom>
            <a:avLst/>
            <a:gdLst/>
            <a:ahLst/>
            <a:cxnLst/>
            <a:rect l="l" t="t" r="r" b="b"/>
            <a:pathLst>
              <a:path w="16989425" h="2558415">
                <a:moveTo>
                  <a:pt x="16989080" y="0"/>
                </a:moveTo>
                <a:lnTo>
                  <a:pt x="0" y="0"/>
                </a:lnTo>
                <a:lnTo>
                  <a:pt x="0" y="2558254"/>
                </a:lnTo>
                <a:lnTo>
                  <a:pt x="16989080" y="2558254"/>
                </a:lnTo>
                <a:lnTo>
                  <a:pt x="16989080" y="0"/>
                </a:lnTo>
                <a:close/>
              </a:path>
            </a:pathLst>
          </a:custGeom>
          <a:solidFill>
            <a:srgbClr val="306BCF"/>
          </a:solidFill>
        </p:spPr>
        <p:txBody>
          <a:bodyPr wrap="square" lIns="36000" tIns="36000" rIns="36000" bIns="36000" rtlCol="0" anchor="ctr"/>
          <a:lstStyle/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LCV</a:t>
            </a:r>
          </a:p>
        </p:txBody>
      </p:sp>
      <p:pic>
        <p:nvPicPr>
          <p:cNvPr id="33" name="Immagine 3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</a:blip>
          <a:stretch>
            <a:fillRect/>
          </a:stretch>
        </p:blipFill>
        <p:spPr>
          <a:xfrm>
            <a:off x="3681245" y="1574605"/>
            <a:ext cx="432059" cy="430905"/>
          </a:xfrm>
          <a:prstGeom prst="rect">
            <a:avLst/>
          </a:prstGeom>
        </p:spPr>
      </p:pic>
      <p:pic>
        <p:nvPicPr>
          <p:cNvPr id="34" name="Immagine 33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</a:blip>
          <a:stretch>
            <a:fillRect/>
          </a:stretch>
        </p:blipFill>
        <p:spPr>
          <a:xfrm>
            <a:off x="7925203" y="1573510"/>
            <a:ext cx="433155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508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egnaposto contenuto 6" descr="Immagine che contiene aria aperta, albero, strada, autunno&#10;&#10;Descrizione generata automaticamente">
            <a:extLst>
              <a:ext uri="{FF2B5EF4-FFF2-40B4-BE49-F238E27FC236}">
                <a16:creationId xmlns:a16="http://schemas.microsoft.com/office/drawing/2014/main" id="{F589DA4A-36F3-4C13-23D7-09903668C3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565371"/>
          </a:xfrm>
        </p:spPr>
      </p:pic>
      <p:pic>
        <p:nvPicPr>
          <p:cNvPr id="5" name="Segnaposto contenuto 6" descr="Immagine che contiene aria aperta, albero, strada, autunno&#10;&#10;Descrizione generata automaticamente">
            <a:extLst>
              <a:ext uri="{FF2B5EF4-FFF2-40B4-BE49-F238E27FC236}">
                <a16:creationId xmlns:a16="http://schemas.microsoft.com/office/drawing/2014/main" id="{F589DA4A-36F3-4C13-23D7-09903668C3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565371"/>
          </a:xfrm>
        </p:spPr>
      </p:pic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 l="6679" r="6090"/>
          <a:stretch/>
        </p:blipFill>
        <p:spPr>
          <a:xfrm>
            <a:off x="2973977" y="645213"/>
            <a:ext cx="3217818" cy="2320364"/>
          </a:xfrm>
          <a:prstGeom prst="rect">
            <a:avLst/>
          </a:prstGeom>
        </p:spPr>
      </p:pic>
      <p:sp>
        <p:nvSpPr>
          <p:cNvPr id="9" name="Rettangolo 8"/>
          <p:cNvSpPr/>
          <p:nvPr/>
        </p:nvSpPr>
        <p:spPr>
          <a:xfrm>
            <a:off x="3536901" y="3031559"/>
            <a:ext cx="26548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latin typeface="Century Gothic" panose="020B0502020202020204" pitchFamily="34" charset="0"/>
              </a:rPr>
              <a:t>mobility-observatory.arval.it/</a:t>
            </a: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73977" y="3031071"/>
            <a:ext cx="568013" cy="41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92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2.77803100000000036118E+00&quot;&gt;&lt;m_msothmcolidx val=&quot;0&quot;/&gt;&lt;m_rgb r=&quot;30&quot; g=&quot;6B&quot; b=&quot;CF&quot;/&gt;&lt;m_nBrightness endver=&quot;26206&quot; val=&quot;0&quot;/&gt;&lt;/elem&gt;&lt;elem m_fUsage=&quot;2.43900000000000005684E+00&quot;&gt;&lt;m_msothmcolidx val=&quot;0&quot;/&gt;&lt;m_rgb r=&quot;61&quot; g=&quot;8E&quot; b=&quot;DA&quot;/&gt;&lt;m_nBrightness endver=&quot;26206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nDfECGn1t6k8hpwIp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HY2IzT4Kbnz3gZAjKx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7JbpLjtIdm6rhteYd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0EWRl3MX5i.xynm_Rs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ng6nyrqRlAFXuY2vbn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0EWRl3MX5i.xynm_Rs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Y0xGIwGJCbINOcjKVT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u9kUgZ8GuG3iIlU_wzPg"/>
</p:tagLst>
</file>

<file path=ppt/theme/theme1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Helvetica neue"/>
        <a:ea typeface=""/>
        <a:cs typeface=""/>
      </a:majorFont>
      <a:minorFont>
        <a:latin typeface="Helvetica neu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zato 1">
      <a:majorFont>
        <a:latin typeface="Helvetica neue"/>
        <a:ea typeface=""/>
        <a:cs typeface=""/>
      </a:majorFont>
      <a:minorFont>
        <a:latin typeface="Helvetica neu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39</TotalTime>
  <Words>684</Words>
  <Application>Microsoft Office PowerPoint</Application>
  <PresentationFormat>Presentazione su schermo (16:9)</PresentationFormat>
  <Paragraphs>70</Paragraphs>
  <Slides>8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19" baseType="lpstr">
      <vt:lpstr>Arial</vt:lpstr>
      <vt:lpstr>Avenir Roman</vt:lpstr>
      <vt:lpstr>Calibri</vt:lpstr>
      <vt:lpstr>Calibri Light</vt:lpstr>
      <vt:lpstr>Century Gothic</vt:lpstr>
      <vt:lpstr>Helvetica</vt:lpstr>
      <vt:lpstr>Wingdings 2</vt:lpstr>
      <vt:lpstr>Personalizza struttura</vt:lpstr>
      <vt:lpstr>1_Personalizza struttura</vt:lpstr>
      <vt:lpstr>2_Personalizza struttura</vt:lpstr>
      <vt:lpstr>Diapositiva think-cell</vt:lpstr>
      <vt:lpstr>Presentazione standard di PowerPoint</vt:lpstr>
      <vt:lpstr> </vt:lpstr>
      <vt:lpstr> </vt:lpstr>
      <vt:lpstr> </vt:lpstr>
      <vt:lpstr> </vt:lpstr>
      <vt:lpstr> 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Beatrice Selleri</dc:creator>
  <cp:lastModifiedBy>Michele Amici</cp:lastModifiedBy>
  <cp:revision>367</cp:revision>
  <cp:lastPrinted>2018-02-08T15:57:46Z</cp:lastPrinted>
  <dcterms:created xsi:type="dcterms:W3CDTF">2016-04-20T08:44:36Z</dcterms:created>
  <dcterms:modified xsi:type="dcterms:W3CDTF">2024-12-03T11:33:12Z</dcterms:modified>
</cp:coreProperties>
</file>